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ppt" ContentType="application/vnd.ms-powerpoint"/>
  <Default Extension="wdp" ContentType="image/vnd.ms-photo"/>
  <Default Extension="pptx" ContentType="application/vnd.openxmlformats-officedocument.presentationml.presentation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7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8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9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0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1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2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3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4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5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6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7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8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9.xml" ContentType="application/vnd.openxmlformats-officedocument.theme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20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664" r:id="rId3"/>
    <p:sldMasterId id="2147483676" r:id="rId4"/>
    <p:sldMasterId id="2147483678" r:id="rId5"/>
    <p:sldMasterId id="2147483680" r:id="rId6"/>
    <p:sldMasterId id="2147483730" r:id="rId7"/>
    <p:sldMasterId id="2147483742" r:id="rId8"/>
    <p:sldMasterId id="2147483754" r:id="rId9"/>
    <p:sldMasterId id="2147483790" r:id="rId10"/>
    <p:sldMasterId id="2147483802" r:id="rId11"/>
    <p:sldMasterId id="2147483814" r:id="rId12"/>
    <p:sldMasterId id="2147483928" r:id="rId13"/>
    <p:sldMasterId id="2147483940" r:id="rId14"/>
    <p:sldMasterId id="2147483957" r:id="rId15"/>
    <p:sldMasterId id="2147483969" r:id="rId16"/>
    <p:sldMasterId id="2147483995" r:id="rId17"/>
    <p:sldMasterId id="2147484008" r:id="rId18"/>
    <p:sldMasterId id="2147484020" r:id="rId19"/>
    <p:sldMasterId id="2147484027" r:id="rId20"/>
    <p:sldMasterId id="2147484041" r:id="rId21"/>
  </p:sldMasterIdLst>
  <p:notesMasterIdLst>
    <p:notesMasterId r:id="rId79"/>
  </p:notesMasterIdLst>
  <p:sldIdLst>
    <p:sldId id="257" r:id="rId22"/>
    <p:sldId id="258" r:id="rId23"/>
    <p:sldId id="259" r:id="rId24"/>
    <p:sldId id="273" r:id="rId25"/>
    <p:sldId id="275" r:id="rId26"/>
    <p:sldId id="276" r:id="rId27"/>
    <p:sldId id="265" r:id="rId28"/>
    <p:sldId id="266" r:id="rId29"/>
    <p:sldId id="284" r:id="rId30"/>
    <p:sldId id="282" r:id="rId31"/>
    <p:sldId id="283" r:id="rId32"/>
    <p:sldId id="385" r:id="rId33"/>
    <p:sldId id="291" r:id="rId34"/>
    <p:sldId id="290" r:id="rId35"/>
    <p:sldId id="383" r:id="rId36"/>
    <p:sldId id="387" r:id="rId37"/>
    <p:sldId id="285" r:id="rId38"/>
    <p:sldId id="368" r:id="rId39"/>
    <p:sldId id="369" r:id="rId40"/>
    <p:sldId id="286" r:id="rId41"/>
    <p:sldId id="298" r:id="rId42"/>
    <p:sldId id="300" r:id="rId43"/>
    <p:sldId id="292" r:id="rId44"/>
    <p:sldId id="297" r:id="rId45"/>
    <p:sldId id="293" r:id="rId46"/>
    <p:sldId id="404" r:id="rId47"/>
    <p:sldId id="309" r:id="rId48"/>
    <p:sldId id="308" r:id="rId49"/>
    <p:sldId id="392" r:id="rId50"/>
    <p:sldId id="303" r:id="rId51"/>
    <p:sldId id="307" r:id="rId52"/>
    <p:sldId id="287" r:id="rId53"/>
    <p:sldId id="362" r:id="rId54"/>
    <p:sldId id="363" r:id="rId55"/>
    <p:sldId id="364" r:id="rId56"/>
    <p:sldId id="365" r:id="rId57"/>
    <p:sldId id="366" r:id="rId58"/>
    <p:sldId id="355" r:id="rId59"/>
    <p:sldId id="356" r:id="rId60"/>
    <p:sldId id="357" r:id="rId61"/>
    <p:sldId id="358" r:id="rId62"/>
    <p:sldId id="359" r:id="rId63"/>
    <p:sldId id="360" r:id="rId64"/>
    <p:sldId id="361" r:id="rId65"/>
    <p:sldId id="393" r:id="rId66"/>
    <p:sldId id="394" r:id="rId67"/>
    <p:sldId id="395" r:id="rId68"/>
    <p:sldId id="396" r:id="rId69"/>
    <p:sldId id="397" r:id="rId70"/>
    <p:sldId id="398" r:id="rId71"/>
    <p:sldId id="399" r:id="rId72"/>
    <p:sldId id="400" r:id="rId73"/>
    <p:sldId id="401" r:id="rId74"/>
    <p:sldId id="402" r:id="rId75"/>
    <p:sldId id="403" r:id="rId76"/>
    <p:sldId id="381" r:id="rId77"/>
    <p:sldId id="390" r:id="rId78"/>
  </p:sldIdLst>
  <p:sldSz cx="9144000" cy="6858000" type="screen4x3"/>
  <p:notesSz cx="6858000" cy="9144000"/>
  <p:defaultTextStyle>
    <a:defPPr>
      <a:defRPr lang="zh-TW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  <a:srgbClr val="FF3300"/>
    <a:srgbClr val="D624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中等深淺樣式 2 - 輔色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等深淺樣式 2 - 輔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等深淺樣式 2 - 輔色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7" d="100"/>
          <a:sy n="67" d="100"/>
        </p:scale>
        <p:origin x="-1476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5.xml"/><Relationship Id="rId39" Type="http://schemas.openxmlformats.org/officeDocument/2006/relationships/slide" Target="slides/slide18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3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50" Type="http://schemas.openxmlformats.org/officeDocument/2006/relationships/slide" Target="slides/slide29.xml"/><Relationship Id="rId55" Type="http://schemas.openxmlformats.org/officeDocument/2006/relationships/slide" Target="slides/slide34.xml"/><Relationship Id="rId63" Type="http://schemas.openxmlformats.org/officeDocument/2006/relationships/slide" Target="slides/slide42.xml"/><Relationship Id="rId68" Type="http://schemas.openxmlformats.org/officeDocument/2006/relationships/slide" Target="slides/slide47.xml"/><Relationship Id="rId76" Type="http://schemas.openxmlformats.org/officeDocument/2006/relationships/slide" Target="slides/slide55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0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3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53" Type="http://schemas.openxmlformats.org/officeDocument/2006/relationships/slide" Target="slides/slide32.xml"/><Relationship Id="rId58" Type="http://schemas.openxmlformats.org/officeDocument/2006/relationships/slide" Target="slides/slide37.xml"/><Relationship Id="rId66" Type="http://schemas.openxmlformats.org/officeDocument/2006/relationships/slide" Target="slides/slide45.xml"/><Relationship Id="rId74" Type="http://schemas.openxmlformats.org/officeDocument/2006/relationships/slide" Target="slides/slide53.xml"/><Relationship Id="rId79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0.xml"/><Relationship Id="rId82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slide" Target="slides/slide31.xml"/><Relationship Id="rId60" Type="http://schemas.openxmlformats.org/officeDocument/2006/relationships/slide" Target="slides/slide39.xml"/><Relationship Id="rId65" Type="http://schemas.openxmlformats.org/officeDocument/2006/relationships/slide" Target="slides/slide44.xml"/><Relationship Id="rId73" Type="http://schemas.openxmlformats.org/officeDocument/2006/relationships/slide" Target="slides/slide52.xml"/><Relationship Id="rId78" Type="http://schemas.openxmlformats.org/officeDocument/2006/relationships/slide" Target="slides/slide57.xml"/><Relationship Id="rId8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56" Type="http://schemas.openxmlformats.org/officeDocument/2006/relationships/slide" Target="slides/slide35.xml"/><Relationship Id="rId64" Type="http://schemas.openxmlformats.org/officeDocument/2006/relationships/slide" Target="slides/slide43.xml"/><Relationship Id="rId69" Type="http://schemas.openxmlformats.org/officeDocument/2006/relationships/slide" Target="slides/slide48.xml"/><Relationship Id="rId77" Type="http://schemas.openxmlformats.org/officeDocument/2006/relationships/slide" Target="slides/slide56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0.xml"/><Relationship Id="rId72" Type="http://schemas.openxmlformats.org/officeDocument/2006/relationships/slide" Target="slides/slide51.xml"/><Relationship Id="rId80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59" Type="http://schemas.openxmlformats.org/officeDocument/2006/relationships/slide" Target="slides/slide38.xml"/><Relationship Id="rId67" Type="http://schemas.openxmlformats.org/officeDocument/2006/relationships/slide" Target="slides/slide46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20.xml"/><Relationship Id="rId54" Type="http://schemas.openxmlformats.org/officeDocument/2006/relationships/slide" Target="slides/slide33.xml"/><Relationship Id="rId62" Type="http://schemas.openxmlformats.org/officeDocument/2006/relationships/slide" Target="slides/slide41.xml"/><Relationship Id="rId70" Type="http://schemas.openxmlformats.org/officeDocument/2006/relationships/slide" Target="slides/slide49.xml"/><Relationship Id="rId75" Type="http://schemas.openxmlformats.org/officeDocument/2006/relationships/slide" Target="slides/slide54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Relationship Id="rId57" Type="http://schemas.openxmlformats.org/officeDocument/2006/relationships/slide" Target="slides/slide3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012D6F-7846-4CE3-B424-9E134D7A62EE}" type="datetimeFigureOut">
              <a:rPr lang="zh-TW" altLang="en-US" smtClean="0"/>
              <a:t>2017/4/25</a:t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876266-57CA-48FF-ABB9-9A4A9FDEE59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718598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zh-TW" altLang="en-US" smtClean="0"/>
              <a:t>本頁重點說明</a:t>
            </a:r>
            <a:r>
              <a:rPr lang="en-US" altLang="zh-TW" smtClean="0"/>
              <a:t>:</a:t>
            </a:r>
          </a:p>
          <a:p>
            <a:pPr eaLnBrk="1" hangingPunct="1">
              <a:spcBef>
                <a:spcPct val="0"/>
              </a:spcBef>
            </a:pPr>
            <a:r>
              <a:rPr lang="zh-TW" altLang="en-US" smtClean="0"/>
              <a:t>遠傳一般門市方案</a:t>
            </a:r>
            <a:r>
              <a:rPr lang="en-US" altLang="zh-TW" smtClean="0"/>
              <a:t>“</a:t>
            </a:r>
            <a:r>
              <a:rPr lang="zh-TW" altLang="en-US" smtClean="0"/>
              <a:t>每月月租費</a:t>
            </a:r>
            <a:r>
              <a:rPr lang="en-US" altLang="zh-TW" smtClean="0"/>
              <a:t>” vs “</a:t>
            </a:r>
            <a:r>
              <a:rPr lang="zh-TW" altLang="en-US" smtClean="0"/>
              <a:t>美安專屬月租費 </a:t>
            </a:r>
            <a:r>
              <a:rPr lang="en-US" altLang="zh-TW" smtClean="0"/>
              <a:t>9</a:t>
            </a:r>
            <a:r>
              <a:rPr lang="zh-TW" altLang="en-US" smtClean="0"/>
              <a:t>折</a:t>
            </a:r>
            <a:r>
              <a:rPr lang="en-US" altLang="zh-TW" smtClean="0"/>
              <a:t>”” 24</a:t>
            </a:r>
            <a:r>
              <a:rPr lang="zh-TW" altLang="en-US" smtClean="0"/>
              <a:t>個月可省下金額</a:t>
            </a:r>
            <a:r>
              <a:rPr lang="en-US" altLang="zh-TW" smtClean="0"/>
              <a:t>“</a:t>
            </a:r>
          </a:p>
          <a:p>
            <a:pPr eaLnBrk="1" hangingPunct="1">
              <a:spcBef>
                <a:spcPct val="0"/>
              </a:spcBef>
            </a:pPr>
            <a:r>
              <a:rPr lang="zh-TW" altLang="en-US" smtClean="0"/>
              <a:t>還可以獲得</a:t>
            </a:r>
            <a:r>
              <a:rPr lang="en-US" altLang="zh-TW" smtClean="0"/>
              <a:t>70</a:t>
            </a:r>
            <a:r>
              <a:rPr lang="zh-TW" altLang="en-US" smtClean="0"/>
              <a:t>點</a:t>
            </a:r>
            <a:r>
              <a:rPr lang="en-US" altLang="zh-TW" smtClean="0"/>
              <a:t>IBV(</a:t>
            </a:r>
            <a:r>
              <a:rPr lang="zh-TW" altLang="en-US" smtClean="0"/>
              <a:t>門市沒有</a:t>
            </a:r>
            <a:r>
              <a:rPr lang="en-US" altLang="zh-TW" smtClean="0"/>
              <a:t>)</a:t>
            </a:r>
            <a:endParaRPr lang="zh-TW" altLang="en-US" smtClean="0"/>
          </a:p>
        </p:txBody>
      </p:sp>
      <p:sp>
        <p:nvSpPr>
          <p:cNvPr id="8196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9pPr>
          </a:lstStyle>
          <a:p>
            <a:pPr eaLnBrk="1" hangingPunct="1">
              <a:spcBef>
                <a:spcPct val="0"/>
              </a:spcBef>
            </a:pPr>
            <a:fld id="{B3710DB2-51B3-4B7D-8E54-D2EE9DA3C8D3}" type="slidenum">
              <a:rPr lang="zh-TW" altLang="en-US">
                <a:solidFill>
                  <a:prstClr val="black"/>
                </a:solidFill>
                <a:latin typeface="Arial" charset="0"/>
              </a:rPr>
              <a:pPr eaLnBrk="1" hangingPunct="1">
                <a:spcBef>
                  <a:spcPct val="0"/>
                </a:spcBef>
              </a:pPr>
              <a:t>18</a:t>
            </a:fld>
            <a:endParaRPr lang="zh-TW" altLang="en-US">
              <a:solidFill>
                <a:prstClr val="black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zh-TW" altLang="en-US" smtClean="0"/>
              <a:t>本頁重點說明</a:t>
            </a:r>
            <a:r>
              <a:rPr lang="en-US" altLang="zh-TW" smtClean="0"/>
              <a:t>:</a:t>
            </a:r>
          </a:p>
          <a:p>
            <a:pPr eaLnBrk="1" hangingPunct="1">
              <a:spcBef>
                <a:spcPct val="0"/>
              </a:spcBef>
            </a:pPr>
            <a:r>
              <a:rPr lang="zh-TW" altLang="en-US" smtClean="0"/>
              <a:t>遠傳一般門市方案</a:t>
            </a:r>
            <a:r>
              <a:rPr lang="en-US" altLang="zh-TW" smtClean="0"/>
              <a:t>“</a:t>
            </a:r>
            <a:r>
              <a:rPr lang="zh-TW" altLang="en-US" smtClean="0"/>
              <a:t>每月月租費</a:t>
            </a:r>
            <a:r>
              <a:rPr lang="en-US" altLang="zh-TW" smtClean="0"/>
              <a:t>” vs “</a:t>
            </a:r>
            <a:r>
              <a:rPr lang="zh-TW" altLang="en-US" smtClean="0"/>
              <a:t>美安專屬月租費 </a:t>
            </a:r>
            <a:r>
              <a:rPr lang="en-US" altLang="zh-TW" smtClean="0"/>
              <a:t>9</a:t>
            </a:r>
            <a:r>
              <a:rPr lang="zh-TW" altLang="en-US" smtClean="0"/>
              <a:t>折</a:t>
            </a:r>
            <a:r>
              <a:rPr lang="en-US" altLang="zh-TW" smtClean="0"/>
              <a:t>”” 24</a:t>
            </a:r>
            <a:r>
              <a:rPr lang="zh-TW" altLang="en-US" smtClean="0"/>
              <a:t>個月可省下金額</a:t>
            </a:r>
            <a:r>
              <a:rPr lang="en-US" altLang="zh-TW" smtClean="0"/>
              <a:t>“</a:t>
            </a:r>
          </a:p>
          <a:p>
            <a:pPr eaLnBrk="1" hangingPunct="1">
              <a:spcBef>
                <a:spcPct val="0"/>
              </a:spcBef>
            </a:pPr>
            <a:r>
              <a:rPr lang="zh-TW" altLang="en-US" smtClean="0"/>
              <a:t>還可以獲得</a:t>
            </a:r>
            <a:r>
              <a:rPr lang="en-US" altLang="zh-TW" smtClean="0"/>
              <a:t>70</a:t>
            </a:r>
            <a:r>
              <a:rPr lang="zh-TW" altLang="en-US" smtClean="0"/>
              <a:t>點</a:t>
            </a:r>
            <a:r>
              <a:rPr lang="en-US" altLang="zh-TW" smtClean="0"/>
              <a:t>IBV(</a:t>
            </a:r>
            <a:r>
              <a:rPr lang="zh-TW" altLang="en-US" smtClean="0"/>
              <a:t>門市沒有</a:t>
            </a:r>
            <a:r>
              <a:rPr lang="en-US" altLang="zh-TW" smtClean="0"/>
              <a:t>)</a:t>
            </a:r>
            <a:endParaRPr lang="zh-TW" altLang="en-US" smtClean="0"/>
          </a:p>
        </p:txBody>
      </p:sp>
      <p:sp>
        <p:nvSpPr>
          <p:cNvPr id="9220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  <a:ea typeface="新細明體" charset="-120"/>
              </a:defRPr>
            </a:lvl9pPr>
          </a:lstStyle>
          <a:p>
            <a:pPr eaLnBrk="1" hangingPunct="1">
              <a:spcBef>
                <a:spcPct val="0"/>
              </a:spcBef>
            </a:pPr>
            <a:fld id="{08F148FC-C037-4EB9-A25F-3E11EA93E954}" type="slidenum">
              <a:rPr lang="zh-TW" altLang="en-US">
                <a:solidFill>
                  <a:prstClr val="black"/>
                </a:solidFill>
                <a:latin typeface="Arial" charset="0"/>
              </a:rPr>
              <a:pPr eaLnBrk="1" hangingPunct="1">
                <a:spcBef>
                  <a:spcPct val="0"/>
                </a:spcBef>
              </a:pPr>
              <a:t>19</a:t>
            </a:fld>
            <a:endParaRPr lang="zh-TW" altLang="en-US">
              <a:solidFill>
                <a:prstClr val="black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TW" altLang="en-US" smtClean="0"/>
          </a:p>
        </p:txBody>
      </p:sp>
      <p:sp>
        <p:nvSpPr>
          <p:cNvPr id="11268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00A73AFA-D5C3-4B25-A087-F2A712864654}" type="slidenum">
              <a:rPr lang="zh-TW" altLang="en-US">
                <a:solidFill>
                  <a:prstClr val="black"/>
                </a:solidFill>
              </a:rPr>
              <a:pPr>
                <a:defRPr/>
              </a:pPr>
              <a:t>33</a:t>
            </a:fld>
            <a:endParaRPr lang="zh-TW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TW" altLang="en-US" smtClean="0"/>
          </a:p>
        </p:txBody>
      </p:sp>
      <p:sp>
        <p:nvSpPr>
          <p:cNvPr id="12292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7870DC3D-AA3E-4EAD-9351-EA23A2CA3185}" type="slidenum">
              <a:rPr lang="zh-TW" altLang="en-US">
                <a:solidFill>
                  <a:prstClr val="black"/>
                </a:solidFill>
              </a:rPr>
              <a:pPr>
                <a:defRPr/>
              </a:pPr>
              <a:t>34</a:t>
            </a:fld>
            <a:endParaRPr lang="zh-TW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zh-TW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zh-TW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TW" altLang="en-US" smtClean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4CBB2B2-BBA9-420D-93E4-32C1B321CC1F}" type="slidenum">
              <a:rPr lang="en-US">
                <a:solidFill>
                  <a:prstClr val="black"/>
                </a:solidFill>
              </a:rPr>
              <a:pPr>
                <a:defRPr/>
              </a:pPr>
              <a:t>47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zh-TW" altLang="en-US" smtClean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56B03FB-FBB1-4272-8588-37E8B36ADA87}" type="slidenum">
              <a:rPr lang="zh-TW" altLang="en-US">
                <a:solidFill>
                  <a:prstClr val="black"/>
                </a:solidFill>
              </a:rPr>
              <a:pPr>
                <a:defRPr/>
              </a:pPr>
              <a:t>48</a:t>
            </a:fld>
            <a:endParaRPr lang="zh-TW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zh-TW" smtClean="0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80046453-690D-4011-B2A3-6EE805EE05CF}" type="slidenum">
              <a:rPr lang="en-GB" altLang="zh-TW" smtClean="0">
                <a:solidFill>
                  <a:srgbClr val="000000"/>
                </a:solidFill>
                <a:latin typeface="Arial" pitchFamily="34" charset="0"/>
              </a:rPr>
              <a:pPr eaLnBrk="1" hangingPunct="1">
                <a:spcBef>
                  <a:spcPct val="0"/>
                </a:spcBef>
                <a:defRPr/>
              </a:pPr>
              <a:t>50</a:t>
            </a:fld>
            <a:endParaRPr lang="en-GB" altLang="zh-TW" smtClean="0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zh-TW" altLang="en-US" smtClean="0">
                <a:latin typeface="Century Gothic" pitchFamily="34" charset="0"/>
                <a:ea typeface="微軟正黑體" pitchFamily="34" charset="-120"/>
              </a:rPr>
              <a:t>隨機抽出 </a:t>
            </a:r>
            <a:r>
              <a:rPr lang="en-US" altLang="zh-TW" sz="2000" b="1" smtClean="0">
                <a:solidFill>
                  <a:srgbClr val="FF0000"/>
                </a:solidFill>
                <a:latin typeface="Century Gothic" pitchFamily="34" charset="0"/>
                <a:ea typeface="微軟正黑體" pitchFamily="34" charset="-120"/>
              </a:rPr>
              <a:t>5</a:t>
            </a:r>
            <a:r>
              <a:rPr lang="zh-TW" altLang="en-US" smtClean="0">
                <a:latin typeface="Century Gothic" pitchFamily="34" charset="0"/>
                <a:ea typeface="微軟正黑體" pitchFamily="34" charset="-120"/>
              </a:rPr>
              <a:t>名</a:t>
            </a:r>
            <a:r>
              <a:rPr lang="en-US" altLang="zh-TW" smtClean="0">
                <a:latin typeface="Century Gothic" pitchFamily="34" charset="0"/>
                <a:ea typeface="微軟正黑體" pitchFamily="34" charset="-120"/>
              </a:rPr>
              <a:t>, </a:t>
            </a:r>
            <a:r>
              <a:rPr lang="en-US" altLang="zh-TW" b="1" smtClean="0">
                <a:latin typeface="Century Gothic" pitchFamily="34" charset="0"/>
                <a:ea typeface="微軟正黑體" pitchFamily="34" charset="-120"/>
              </a:rPr>
              <a:t>4/18</a:t>
            </a:r>
            <a:r>
              <a:rPr lang="zh-TW" altLang="en-US" b="1" smtClean="0">
                <a:latin typeface="Century Gothic" pitchFamily="34" charset="0"/>
                <a:ea typeface="微軟正黑體" pitchFamily="34" charset="-120"/>
              </a:rPr>
              <a:t>、</a:t>
            </a:r>
            <a:r>
              <a:rPr lang="en-US" altLang="zh-TW" b="1" smtClean="0">
                <a:latin typeface="Century Gothic" pitchFamily="34" charset="0"/>
                <a:ea typeface="微軟正黑體" pitchFamily="34" charset="-120"/>
              </a:rPr>
              <a:t>4/19 </a:t>
            </a:r>
            <a:r>
              <a:rPr lang="zh-TW" altLang="en-US" b="1" smtClean="0">
                <a:latin typeface="Century Gothic" pitchFamily="34" charset="0"/>
                <a:ea typeface="微軟正黑體" pitchFamily="34" charset="-120"/>
              </a:rPr>
              <a:t>現場訂閱</a:t>
            </a:r>
            <a:endParaRPr lang="en-US" altLang="zh-TW" b="1" smtClean="0">
              <a:latin typeface="Century Gothic" pitchFamily="34" charset="0"/>
              <a:ea typeface="微軟正黑體" pitchFamily="34" charset="-12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zh-TW" altLang="en-US" smtClean="0">
                <a:latin typeface="Century Gothic" pitchFamily="34" charset="0"/>
                <a:ea typeface="微軟正黑體" pitchFamily="34" charset="-120"/>
              </a:rPr>
              <a:t>即有機會參加抽獎！</a:t>
            </a:r>
          </a:p>
          <a:p>
            <a:pPr eaLnBrk="1" hangingPunct="1">
              <a:spcBef>
                <a:spcPct val="0"/>
              </a:spcBef>
            </a:pPr>
            <a:endParaRPr lang="zh-TW" altLang="en-US" smtClean="0"/>
          </a:p>
        </p:txBody>
      </p:sp>
      <p:sp>
        <p:nvSpPr>
          <p:cNvPr id="22532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13F9CC83-FE92-40B9-81BF-A447AC4B991C}" type="slidenum">
              <a:rPr lang="en-US" altLang="zh-TW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  <a:defRPr/>
              </a:pPr>
              <a:t>54</a:t>
            </a:fld>
            <a:endParaRPr lang="en-US" altLang="zh-TW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ne of the ways we have expanded</a:t>
            </a:r>
            <a:r>
              <a:rPr lang="en-US" baseline="0" dirty="0" smtClean="0"/>
              <a:t> our partner program and increase your cashback &amp; IBV is by going direct.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234F4C-ABF4-4070-96E5-D4C03CD40C5E}" type="slidenum">
              <a:rPr lang="en-US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1318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3948" fontAlgn="base">
              <a:spcBef>
                <a:spcPct val="0"/>
              </a:spcBef>
              <a:spcAft>
                <a:spcPct val="0"/>
              </a:spcAft>
              <a:defRPr kumimoji="1" b="1">
                <a:latin typeface="Centaur" pitchFamily="18" charset="0"/>
                <a:ea typeface="Helvetica Light"/>
                <a:cs typeface="Helvetica Light"/>
              </a:defRPr>
            </a:lvl1pPr>
          </a:lstStyle>
          <a:p>
            <a:pPr>
              <a:defRPr/>
            </a:pPr>
            <a:fld id="{AAB38E49-9142-4BB2-98CC-202B285367F3}" type="datetimeFigureOut">
              <a:rPr lang="en-US"/>
              <a:pPr>
                <a:defRPr/>
              </a:pPr>
              <a:t>4/2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3948" fontAlgn="base">
              <a:spcBef>
                <a:spcPct val="0"/>
              </a:spcBef>
              <a:spcAft>
                <a:spcPct val="0"/>
              </a:spcAft>
              <a:defRPr kumimoji="1" b="1">
                <a:latin typeface="Centaur" pitchFamily="18" charset="0"/>
                <a:ea typeface="Helvetica Light"/>
                <a:cs typeface="Helvetica Ligh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3948" fontAlgn="base">
              <a:spcBef>
                <a:spcPct val="0"/>
              </a:spcBef>
              <a:spcAft>
                <a:spcPct val="0"/>
              </a:spcAft>
              <a:defRPr kumimoji="1" b="1">
                <a:latin typeface="Centaur" pitchFamily="18" charset="0"/>
                <a:ea typeface="Helvetica Light"/>
                <a:cs typeface="Helvetica Light"/>
              </a:defRPr>
            </a:lvl1pPr>
          </a:lstStyle>
          <a:p>
            <a:pPr>
              <a:defRPr/>
            </a:pPr>
            <a:fld id="{604910D3-1D8F-4A8E-B868-67C2FC2211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1826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9" y="273050"/>
            <a:ext cx="3008313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4731"/>
            <a:ext cx="5111750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9" y="1435104"/>
            <a:ext cx="3008313" cy="4691063"/>
          </a:xfrm>
        </p:spPr>
        <p:txBody>
          <a:bodyPr/>
          <a:lstStyle>
            <a:lvl1pPr marL="0" indent="0">
              <a:buNone/>
              <a:defRPr sz="1900"/>
            </a:lvl1pPr>
            <a:lvl2pPr marL="592637" indent="0">
              <a:buNone/>
              <a:defRPr sz="1600"/>
            </a:lvl2pPr>
            <a:lvl3pPr marL="1185185" indent="0">
              <a:buNone/>
              <a:defRPr sz="1300"/>
            </a:lvl3pPr>
            <a:lvl4pPr marL="1777986" indent="0">
              <a:buNone/>
              <a:defRPr sz="1200"/>
            </a:lvl4pPr>
            <a:lvl5pPr marL="2369999" indent="0">
              <a:buNone/>
              <a:defRPr sz="1200"/>
            </a:lvl5pPr>
            <a:lvl6pPr marL="2962317" indent="0">
              <a:buNone/>
              <a:defRPr sz="1200"/>
            </a:lvl6pPr>
            <a:lvl7pPr marL="3555030" indent="0">
              <a:buNone/>
              <a:defRPr sz="1200"/>
            </a:lvl7pPr>
            <a:lvl8pPr marL="4147615" indent="0">
              <a:buNone/>
              <a:defRPr sz="1200"/>
            </a:lvl8pPr>
            <a:lvl9pPr marL="4739947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51953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31823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64490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93731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7193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16745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8466" y="-8468"/>
            <a:ext cx="9171316" cy="6874935"/>
            <a:chOff x="-8466" y="-8468"/>
            <a:chExt cx="9171316" cy="6874935"/>
          </a:xfrm>
        </p:grpSpPr>
        <p:cxnSp>
          <p:nvCxnSpPr>
            <p:cNvPr id="28" name="Straight Connector 2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Freeform 2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Freeform 3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2" name="Freeform 3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3" name="Freeform 3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4" name="Freeform 3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5" name="Freeform 34"/>
            <p:cNvSpPr/>
            <p:nvPr/>
          </p:nvSpPr>
          <p:spPr>
            <a:xfrm>
              <a:off x="8094165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6" name="Freeform 35"/>
            <p:cNvSpPr/>
            <p:nvPr/>
          </p:nvSpPr>
          <p:spPr>
            <a:xfrm>
              <a:off x="8068764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17"/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595" y="2404534"/>
            <a:ext cx="5826719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595" y="4050834"/>
            <a:ext cx="5826719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38310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69441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8" y="2700868"/>
            <a:ext cx="6347715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509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6347714" cy="1320800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160589"/>
            <a:ext cx="3088109" cy="38807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9204" y="2160590"/>
            <a:ext cx="3088110" cy="388077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768755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3" cy="132080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2160983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" y="2737246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66640" y="2160983"/>
            <a:ext cx="309067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66640" y="2737246"/>
            <a:ext cx="3090672" cy="3304117"/>
          </a:xfrm>
        </p:spPr>
        <p:txBody>
          <a:bodyPr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224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5"/>
            <a:ext cx="54864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592637" indent="0">
              <a:buNone/>
              <a:defRPr sz="3700"/>
            </a:lvl2pPr>
            <a:lvl3pPr marL="1185185" indent="0">
              <a:buNone/>
              <a:defRPr sz="3200"/>
            </a:lvl3pPr>
            <a:lvl4pPr marL="1777986" indent="0">
              <a:buNone/>
              <a:defRPr sz="2700"/>
            </a:lvl4pPr>
            <a:lvl5pPr marL="2369999" indent="0">
              <a:buNone/>
              <a:defRPr sz="2700"/>
            </a:lvl5pPr>
            <a:lvl6pPr marL="2962317" indent="0">
              <a:buNone/>
              <a:defRPr sz="2700"/>
            </a:lvl6pPr>
            <a:lvl7pPr marL="3555030" indent="0">
              <a:buNone/>
              <a:defRPr sz="2700"/>
            </a:lvl7pPr>
            <a:lvl8pPr marL="4147615" indent="0">
              <a:buNone/>
              <a:defRPr sz="2700"/>
            </a:lvl8pPr>
            <a:lvl9pPr marL="4739947" indent="0">
              <a:buNone/>
              <a:defRPr sz="27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9018"/>
            <a:ext cx="5486400" cy="804863"/>
          </a:xfrm>
        </p:spPr>
        <p:txBody>
          <a:bodyPr/>
          <a:lstStyle>
            <a:lvl1pPr marL="0" indent="0">
              <a:buNone/>
              <a:defRPr sz="1900"/>
            </a:lvl1pPr>
            <a:lvl2pPr marL="592637" indent="0">
              <a:buNone/>
              <a:defRPr sz="1600"/>
            </a:lvl2pPr>
            <a:lvl3pPr marL="1185185" indent="0">
              <a:buNone/>
              <a:defRPr sz="1300"/>
            </a:lvl3pPr>
            <a:lvl4pPr marL="1777986" indent="0">
              <a:buNone/>
              <a:defRPr sz="1200"/>
            </a:lvl4pPr>
            <a:lvl5pPr marL="2369999" indent="0">
              <a:buNone/>
              <a:defRPr sz="1200"/>
            </a:lvl5pPr>
            <a:lvl6pPr marL="2962317" indent="0">
              <a:buNone/>
              <a:defRPr sz="1200"/>
            </a:lvl6pPr>
            <a:lvl7pPr marL="3555030" indent="0">
              <a:buNone/>
              <a:defRPr sz="1200"/>
            </a:lvl7pPr>
            <a:lvl8pPr marL="4147615" indent="0">
              <a:buNone/>
              <a:defRPr sz="1200"/>
            </a:lvl8pPr>
            <a:lvl9pPr marL="4739947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48580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4" cy="1320800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1384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12315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1498604"/>
            <a:ext cx="2790182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1275" y="514925"/>
            <a:ext cx="3386037" cy="5526437"/>
          </a:xfrm>
        </p:spPr>
        <p:txBody>
          <a:bodyPr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99" y="2777069"/>
            <a:ext cx="2790182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78685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4800600"/>
            <a:ext cx="6347714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" y="609600"/>
            <a:ext cx="6347714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zh-TW" altLang="en-US" smtClean="0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599" y="5367338"/>
            <a:ext cx="6347714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40639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與說明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6347714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4470400"/>
            <a:ext cx="6347714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21838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引述 (含標題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885" y="609600"/>
            <a:ext cx="607218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01074" y="3632200"/>
            <a:ext cx="541980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470400"/>
            <a:ext cx="6347715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82711" y="79037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47699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05989901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8" y="1931988"/>
            <a:ext cx="6347715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95766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引述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4885" y="609600"/>
            <a:ext cx="607218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597" y="4013200"/>
            <a:ext cx="634771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82711" y="790378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47699" y="2886556"/>
            <a:ext cx="457319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8728891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是非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5848" y="609600"/>
            <a:ext cx="6341465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9597" y="4013200"/>
            <a:ext cx="634771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4527448"/>
            <a:ext cx="634771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8979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4359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23814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7312" y="609600"/>
            <a:ext cx="978812" cy="5251451"/>
          </a:xfrm>
        </p:spPr>
        <p:txBody>
          <a:bodyPr vert="eaVert" anchor="ctr"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599" y="609600"/>
            <a:ext cx="5195026" cy="5251451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85152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 flipV="1">
            <a:off x="5410200" y="3810000"/>
            <a:ext cx="3733800" cy="904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/>
        </p:nvSpPr>
        <p:spPr>
          <a:xfrm flipV="1">
            <a:off x="5410200" y="3897313"/>
            <a:ext cx="3733800" cy="19208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 flipV="1">
            <a:off x="5410200" y="4114800"/>
            <a:ext cx="3733800" cy="9525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 flipV="1">
            <a:off x="5410200" y="4164013"/>
            <a:ext cx="1965325" cy="19050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 flipV="1">
            <a:off x="5410200" y="4198938"/>
            <a:ext cx="1965325" cy="9525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11" name="圓角矩形 10"/>
          <p:cNvSpPr/>
          <p:nvPr/>
        </p:nvSpPr>
        <p:spPr bwMode="white">
          <a:xfrm>
            <a:off x="5410200" y="3962400"/>
            <a:ext cx="3063875" cy="26988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12" name="圓角矩形 11"/>
          <p:cNvSpPr/>
          <p:nvPr/>
        </p:nvSpPr>
        <p:spPr bwMode="white">
          <a:xfrm>
            <a:off x="7377113" y="4060825"/>
            <a:ext cx="1600200" cy="36513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0" y="3649663"/>
            <a:ext cx="9144000" cy="2444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0" y="3675063"/>
            <a:ext cx="9144000" cy="1412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 flipV="1">
            <a:off x="6413500" y="3643313"/>
            <a:ext cx="2730500" cy="2476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0" y="0"/>
            <a:ext cx="9144000" cy="370205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標題 7"/>
          <p:cNvSpPr>
            <a:spLocks noGrp="1"/>
          </p:cNvSpPr>
          <p:nvPr>
            <p:ph type="ctrTitle"/>
          </p:nvPr>
        </p:nvSpPr>
        <p:spPr>
          <a:xfrm>
            <a:off x="457200" y="2401887"/>
            <a:ext cx="8458200" cy="1470025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9" name="副標題 8"/>
          <p:cNvSpPr>
            <a:spLocks noGrp="1"/>
          </p:cNvSpPr>
          <p:nvPr>
            <p:ph type="subTitle" idx="1"/>
          </p:nvPr>
        </p:nvSpPr>
        <p:spPr>
          <a:xfrm>
            <a:off x="457200" y="3899938"/>
            <a:ext cx="4953000" cy="1752600"/>
          </a:xfrm>
        </p:spPr>
        <p:txBody>
          <a:bodyPr/>
          <a:lstStyle>
            <a:lvl1pPr marL="64008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zh-TW" altLang="en-US" smtClean="0"/>
              <a:t>按一下以編輯母片副標題樣式</a:t>
            </a:r>
            <a:endParaRPr lang="en-US"/>
          </a:p>
        </p:txBody>
      </p:sp>
      <p:sp>
        <p:nvSpPr>
          <p:cNvPr id="17" name="日期版面配置區 27"/>
          <p:cNvSpPr>
            <a:spLocks noGrp="1"/>
          </p:cNvSpPr>
          <p:nvPr>
            <p:ph type="dt" sz="half" idx="10"/>
          </p:nvPr>
        </p:nvSpPr>
        <p:spPr>
          <a:xfrm>
            <a:off x="6705600" y="4206875"/>
            <a:ext cx="960438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77940B-18EE-4DEA-89E2-99AF481C6119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18" name="頁尾版面配置區 16"/>
          <p:cNvSpPr>
            <a:spLocks noGrp="1"/>
          </p:cNvSpPr>
          <p:nvPr>
            <p:ph type="ftr" sz="quarter" idx="11"/>
          </p:nvPr>
        </p:nvSpPr>
        <p:spPr>
          <a:xfrm>
            <a:off x="5410200" y="4205288"/>
            <a:ext cx="12954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19" name="投影片編號版面配置區 28"/>
          <p:cNvSpPr>
            <a:spLocks noGrp="1"/>
          </p:cNvSpPr>
          <p:nvPr>
            <p:ph type="sldNum" sz="quarter" idx="12"/>
          </p:nvPr>
        </p:nvSpPr>
        <p:spPr>
          <a:xfrm>
            <a:off x="8320088" y="1588"/>
            <a:ext cx="747712" cy="365125"/>
          </a:xfrm>
        </p:spPr>
        <p:txBody>
          <a:bodyPr/>
          <a:lstStyle>
            <a:lvl1pPr algn="r">
              <a:defRPr sz="1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635D7F6-3040-4099-92FB-BD4A3DD50204}" type="slidenum">
              <a:rPr lang="zh-TW" altLang="en-US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09457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日期版面配置區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62D327-7F44-44FC-95B5-B15BA59CCD3F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6" name="投影片編號版面配置區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614179-21E2-4CFD-8A00-4CC53924025D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8091470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1981200"/>
            <a:ext cx="7772400" cy="1362075"/>
          </a:xfrm>
        </p:spPr>
        <p:txBody>
          <a:bodyPr anchor="b">
            <a:noAutofit/>
          </a:bodyPr>
          <a:lstStyle>
            <a:lvl1pPr algn="l">
              <a:buNone/>
              <a:defRPr sz="4300" b="1" cap="none" baseline="0">
                <a:ln w="12700">
                  <a:solidFill>
                    <a:schemeClr val="accent2">
                      <a:shade val="90000"/>
                      <a:satMod val="15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3367088"/>
            <a:ext cx="7772400" cy="1509712"/>
          </a:xfrm>
        </p:spPr>
        <p:txBody>
          <a:bodyPr/>
          <a:lstStyle>
            <a:lvl1pPr marL="45720" indent="0">
              <a:buNone/>
              <a:defRPr sz="2100" b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DC0BD2-A520-420E-B928-F3831B3D3E81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6" name="投影片編號版面配置區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E07085-1EB9-415E-9FDD-7A2531A9578C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0400429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日期版面配置區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70CACE-71B6-419F-851F-4B80802D5CA9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6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7" name="投影片編號版面配置區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B1CB9C-C48E-48A3-BD36-374B18A1F854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1942300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381000" y="1143000"/>
            <a:ext cx="8382000" cy="1069848"/>
          </a:xfrm>
        </p:spPr>
        <p:txBody>
          <a:bodyPr/>
          <a:lstStyle>
            <a:lvl1pPr>
              <a:defRPr sz="4000" b="0" i="0" cap="none" baseline="0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381000" y="2244970"/>
            <a:ext cx="4041648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3"/>
          </p:nvPr>
        </p:nvSpPr>
        <p:spPr>
          <a:xfrm>
            <a:off x="4721225" y="2244970"/>
            <a:ext cx="4041775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內容版面配置區 4"/>
          <p:cNvSpPr>
            <a:spLocks noGrp="1"/>
          </p:cNvSpPr>
          <p:nvPr>
            <p:ph sz="quarter" idx="2"/>
          </p:nvPr>
        </p:nvSpPr>
        <p:spPr>
          <a:xfrm>
            <a:off x="381000" y="2708519"/>
            <a:ext cx="4041648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718304" y="2708519"/>
            <a:ext cx="4041775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7" name="日期版面配置區 2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4FC027AB-00AC-4129-92D9-4703BC0EE8FE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8" name="投影片編號版面配置區 2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6CF9F3BD-6126-4F84-A070-0D28A362F624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  <p:sp>
        <p:nvSpPr>
          <p:cNvPr id="9" name="頁尾版面配置區 2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59030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9848"/>
          </a:xfr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>
          <a:xfrm>
            <a:off x="6583363" y="612775"/>
            <a:ext cx="957262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2DA5A8-C3BC-459F-945B-4F38F947C392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C7FAD2-2C4B-4F4B-AD63-740E36964023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4888979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EEAC9C-3949-4812-8D03-0E7AD5E633C5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4" name="投影片編號版面配置區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7E789A-6022-4EC3-9FF4-8EE824AF34CA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1105987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353496" y="1101970"/>
            <a:ext cx="3383280" cy="877824"/>
          </a:xfrm>
        </p:spPr>
        <p:txBody>
          <a:bodyPr anchor="b"/>
          <a:lstStyle>
            <a:lvl1pPr algn="l">
              <a:buNone/>
              <a:defRPr sz="18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2"/>
          </p:nvPr>
        </p:nvSpPr>
        <p:spPr>
          <a:xfrm>
            <a:off x="5353496" y="2010727"/>
            <a:ext cx="3383280" cy="4617720"/>
          </a:xfrm>
        </p:spPr>
        <p:txBody>
          <a:bodyPr/>
          <a:lstStyle>
            <a:lvl1pPr marL="9144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1"/>
          </p:nvPr>
        </p:nvSpPr>
        <p:spPr>
          <a:xfrm>
            <a:off x="152400" y="776287"/>
            <a:ext cx="5102352" cy="58521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日期版面配置區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30B38A-FE99-4254-9DFC-9D8267FB4E27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6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7" name="投影片編號版面配置區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6B3CB4-88C4-46A8-96FA-5BD8D7318F27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6148934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440434" y="1109160"/>
            <a:ext cx="586803" cy="4681637"/>
          </a:xfrm>
        </p:spPr>
        <p:txBody>
          <a:bodyPr vert="vert270" lIns="45720" tIns="0" rIns="45720" anchor="t"/>
          <a:lstStyle>
            <a:lvl1pPr algn="ctr">
              <a:buNone/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403671" y="1143000"/>
            <a:ext cx="4572000" cy="4572000"/>
          </a:xfrm>
          <a:solidFill>
            <a:srgbClr val="EAEAEA"/>
          </a:solidFill>
          <a:ln w="50800">
            <a:solidFill>
              <a:srgbClr val="FFFFFF"/>
            </a:solidFill>
            <a:miter lim="800000"/>
          </a:ln>
          <a:effectLst>
            <a:outerShdw blurRad="57150" dist="31750" dir="4800000" algn="tl" rotWithShape="0">
              <a:srgbClr val="000000">
                <a:alpha val="2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2540">
            <a:bevelT w="25400" h="19050"/>
            <a:contourClr>
              <a:srgbClr val="AEAEAE"/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zh-TW" altLang="en-US" noProof="0" smtClean="0"/>
              <a:t>按一下圖示以新增圖片</a:t>
            </a:r>
            <a:endParaRPr lang="en-US" noProof="0" dirty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6088443" y="3274308"/>
            <a:ext cx="2590800" cy="2516489"/>
          </a:xfrm>
        </p:spPr>
        <p:txBody>
          <a:bodyPr lIns="0" tIns="0" r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164101-5A6B-438B-BACE-6092A4EAD8FF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6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7" name="投影片編號版面配置區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46E39D-80E3-48E9-BDA8-457C8A221255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223424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8"/>
            <a:ext cx="2057400" cy="438785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8"/>
            <a:ext cx="6019800" cy="438785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05699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日期版面配置區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A7CDF2-5684-485E-8FE5-63AF11D2F3FD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6" name="投影片編號版面配置區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B656E-74CE-4036-8660-8161C57C134C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3689905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781800" y="1143000"/>
            <a:ext cx="1905000" cy="5486400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1143000"/>
            <a:ext cx="6248400" cy="5486400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日期版面配置區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64354B-A04C-42B4-B357-8FE07D51F8AB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5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6" name="投影片編號版面配置區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AC1000-7CE0-44F8-9AE0-B819EA8D7DE9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822930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D:\資料備份-勿刪\桌面\2015 Template_事務用品\PPT\一般-母片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-26988"/>
            <a:ext cx="9180513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419475" y="3644900"/>
            <a:ext cx="5473700" cy="1470025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zh-TW" altLang="en-US" noProof="0" smtClean="0"/>
              <a:t>按一下以編輯母片標題樣式</a:t>
            </a:r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405438" y="5253038"/>
            <a:ext cx="3487737" cy="696912"/>
          </a:xfrm>
        </p:spPr>
        <p:txBody>
          <a:bodyPr/>
          <a:lstStyle>
            <a:lvl1pPr marL="0" indent="0" algn="ctr">
              <a:buFontTx/>
              <a:buNone/>
              <a:defRPr sz="1800"/>
            </a:lvl1pPr>
          </a:lstStyle>
          <a:p>
            <a:pPr lvl="0"/>
            <a:r>
              <a:rPr lang="zh-TW" altLang="en-US" noProof="0" smtClean="0"/>
              <a:t>按一下以編輯母片副標題樣式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CC1372-FABF-454F-B88B-B555CC3E34D3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12449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846E31-6795-484A-9C61-4E5A9E2D2934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69723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B2527E-01D8-47CA-9C24-038DD8CF10AA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24506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5C9C9F-B152-4A7A-975E-08C86D7395A1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23724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C4CAEE-3FA7-48A5-A332-13FED82689FE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16293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39552" y="2852936"/>
            <a:ext cx="8229600" cy="1143000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03EE6D-5134-405F-BA05-5CE404B691FE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17654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8EB19A-657A-4F5F-9F1C-B5D79F8B54A8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69708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E6CDF-E1FD-4AAB-8C87-F23FFA888E77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1233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2329B-0232-4C5F-976A-676715CDB8A7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4/25/2017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EC942-C0EE-4E0F-9390-88C75B5F5C58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83304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FD89B3-1179-4B0C-A229-2307F5B69319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78204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C8B5CF-CA79-4FDB-9174-325413AA0C89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9244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73B32B-2A42-4C2B-B671-C849BB75D9E0}" type="slidenum">
              <a:rPr lang="en-US" altLang="zh-TW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TW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1278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商周簡介ppt背景底部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02225"/>
            <a:ext cx="9144000" cy="175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商周LOGOsloga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63" y="620713"/>
            <a:ext cx="2447925" cy="149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zh-TW" altLang="en-US" noProof="0"/>
              <a:t>按一下以編輯母片標題樣式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zh-TW" altLang="en-US" noProof="0"/>
              <a:t>按一下以編輯母片副標題樣式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3D9DC303-4A67-4322-9CE3-F84CBA583A87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901542889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89E6FE5E-255C-46FA-B8F8-2F852AEAB320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111294683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0B5B89C4-F723-4868-AB01-8F741FCD8E5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364323450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A67C99D9-1720-4D67-AFAD-6D0F9C069D2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025669405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6F4BFDD7-6CD4-4BF5-9934-D6EEEF7EFAF7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790547380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1F058CE-B250-445C-843F-98F1DE5E963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110520560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7451725" y="188913"/>
            <a:ext cx="1441450" cy="1079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zh-TW" altLang="en-US" b="1">
              <a:solidFill>
                <a:srgbClr val="FFFFFF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2A0795E8-7BD5-4D6B-9A11-E65B44EA000C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9999903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2329B-0232-4C5F-976A-676715CDB8A7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4/25/2017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EC942-C0EE-4E0F-9390-88C75B5F5C58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69668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02CCDA46-2A80-410C-AB77-F463235942F7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804550356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334C9CFE-36FD-4655-8993-E1E6D3623418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221377257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0AFEE0B3-9826-4BB7-9FA8-2F926F6338E2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265624287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E439A43-C2C1-45B9-8FA0-16EA56B114A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044719287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標題及圖表或組織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SmartArt 版面配置區 2"/>
          <p:cNvSpPr>
            <a:spLocks noGrp="1"/>
          </p:cNvSpPr>
          <p:nvPr>
            <p:ph type="dgm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zh-TW" alt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4A449BF-6E35-437A-ABC2-E6B0F6F2C423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817839108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354" y="2130848"/>
            <a:ext cx="7773293" cy="147004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824" y="3886647"/>
            <a:ext cx="6400354" cy="1752451"/>
          </a:xfrm>
        </p:spPr>
        <p:txBody>
          <a:bodyPr/>
          <a:lstStyle>
            <a:lvl1pPr marL="0" indent="0" algn="ctr">
              <a:buNone/>
              <a:defRPr/>
            </a:lvl1pPr>
            <a:lvl2pPr marL="321457" indent="0" algn="ctr">
              <a:buNone/>
              <a:defRPr/>
            </a:lvl2pPr>
            <a:lvl3pPr marL="642915" indent="0" algn="ctr">
              <a:buNone/>
              <a:defRPr/>
            </a:lvl3pPr>
            <a:lvl4pPr marL="964372" indent="0" algn="ctr">
              <a:buNone/>
              <a:defRPr/>
            </a:lvl4pPr>
            <a:lvl5pPr marL="1285829" indent="0" algn="ctr">
              <a:buNone/>
              <a:defRPr/>
            </a:lvl5pPr>
            <a:lvl6pPr marL="1607287" indent="0" algn="ctr">
              <a:buNone/>
              <a:defRPr/>
            </a:lvl6pPr>
            <a:lvl7pPr marL="1928744" indent="0" algn="ctr">
              <a:buNone/>
              <a:defRPr/>
            </a:lvl7pPr>
            <a:lvl8pPr marL="2250201" indent="0" algn="ctr">
              <a:buNone/>
              <a:defRPr/>
            </a:lvl8pPr>
            <a:lvl9pPr marL="2571659" indent="0" algn="ctr">
              <a:buNone/>
              <a:defRPr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937311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6653156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189" y="4406801"/>
            <a:ext cx="7772176" cy="1361777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189" y="2906613"/>
            <a:ext cx="7772176" cy="1500188"/>
          </a:xfrm>
        </p:spPr>
        <p:txBody>
          <a:bodyPr anchor="b"/>
          <a:lstStyle>
            <a:lvl1pPr marL="0" indent="0">
              <a:buNone/>
              <a:defRPr sz="1400"/>
            </a:lvl1pPr>
            <a:lvl2pPr marL="321457" indent="0">
              <a:buNone/>
              <a:defRPr sz="1300"/>
            </a:lvl2pPr>
            <a:lvl3pPr marL="642915" indent="0">
              <a:buNone/>
              <a:defRPr sz="1100"/>
            </a:lvl3pPr>
            <a:lvl4pPr marL="964372" indent="0">
              <a:buNone/>
              <a:defRPr sz="1000"/>
            </a:lvl4pPr>
            <a:lvl5pPr marL="1285829" indent="0">
              <a:buNone/>
              <a:defRPr sz="1000"/>
            </a:lvl5pPr>
            <a:lvl6pPr marL="1607287" indent="0">
              <a:buNone/>
              <a:defRPr sz="1000"/>
            </a:lvl6pPr>
            <a:lvl7pPr marL="1928744" indent="0">
              <a:buNone/>
              <a:defRPr sz="1000"/>
            </a:lvl7pPr>
            <a:lvl8pPr marL="2250201" indent="0">
              <a:buNone/>
              <a:defRPr sz="1000"/>
            </a:lvl8pPr>
            <a:lvl9pPr marL="2571659" indent="0">
              <a:buNone/>
              <a:defRPr sz="1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275572294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669727" y="1830586"/>
            <a:ext cx="3848695" cy="442019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25578" y="1830586"/>
            <a:ext cx="3848695" cy="4420195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4548270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647" y="1534791"/>
            <a:ext cx="4039568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57" indent="0">
              <a:buNone/>
              <a:defRPr sz="1400" b="1"/>
            </a:lvl2pPr>
            <a:lvl3pPr marL="642915" indent="0">
              <a:buNone/>
              <a:defRPr sz="1300" b="1"/>
            </a:lvl3pPr>
            <a:lvl4pPr marL="964372" indent="0">
              <a:buNone/>
              <a:defRPr sz="1100" b="1"/>
            </a:lvl4pPr>
            <a:lvl5pPr marL="1285829" indent="0">
              <a:buNone/>
              <a:defRPr sz="1100" b="1"/>
            </a:lvl5pPr>
            <a:lvl6pPr marL="1607287" indent="0">
              <a:buNone/>
              <a:defRPr sz="1100" b="1"/>
            </a:lvl6pPr>
            <a:lvl7pPr marL="1928744" indent="0">
              <a:buNone/>
              <a:defRPr sz="1100" b="1"/>
            </a:lvl7pPr>
            <a:lvl8pPr marL="2250201" indent="0">
              <a:buNone/>
              <a:defRPr sz="1100" b="1"/>
            </a:lvl8pPr>
            <a:lvl9pPr marL="2571659" indent="0">
              <a:buNone/>
              <a:defRPr sz="11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647" y="2174379"/>
            <a:ext cx="4039568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4555" y="1534791"/>
            <a:ext cx="4041799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457" indent="0">
              <a:buNone/>
              <a:defRPr sz="1400" b="1"/>
            </a:lvl2pPr>
            <a:lvl3pPr marL="642915" indent="0">
              <a:buNone/>
              <a:defRPr sz="1300" b="1"/>
            </a:lvl3pPr>
            <a:lvl4pPr marL="964372" indent="0">
              <a:buNone/>
              <a:defRPr sz="1100" b="1"/>
            </a:lvl4pPr>
            <a:lvl5pPr marL="1285829" indent="0">
              <a:buNone/>
              <a:defRPr sz="1100" b="1"/>
            </a:lvl5pPr>
            <a:lvl6pPr marL="1607287" indent="0">
              <a:buNone/>
              <a:defRPr sz="1100" b="1"/>
            </a:lvl6pPr>
            <a:lvl7pPr marL="1928744" indent="0">
              <a:buNone/>
              <a:defRPr sz="1100" b="1"/>
            </a:lvl7pPr>
            <a:lvl8pPr marL="2250201" indent="0">
              <a:buNone/>
              <a:defRPr sz="1100" b="1"/>
            </a:lvl8pPr>
            <a:lvl9pPr marL="2571659" indent="0">
              <a:buNone/>
              <a:defRPr sz="11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4555" y="2174379"/>
            <a:ext cx="4041799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27644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516626"/>
            <a:ext cx="7315200" cy="2595025"/>
          </a:xfrm>
        </p:spPr>
        <p:txBody>
          <a:bodyPr>
            <a:normAutofit/>
          </a:bodyPr>
          <a:lstStyle>
            <a:lvl1pPr>
              <a:defRPr sz="4800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166530"/>
            <a:ext cx="7315200" cy="114463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6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en-US" dirty="0"/>
          </a:p>
        </p:txBody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8DBDBB-4A10-4759-87F3-D90312BB2213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E640DB-374F-4EA3-821F-DD45612E9B39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6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44106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0375251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997517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647" y="273473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224" y="273472"/>
            <a:ext cx="511113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647" y="1435448"/>
            <a:ext cx="300818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457" indent="0">
              <a:buNone/>
              <a:defRPr sz="800"/>
            </a:lvl2pPr>
            <a:lvl3pPr marL="642915" indent="0">
              <a:buNone/>
              <a:defRPr sz="700"/>
            </a:lvl3pPr>
            <a:lvl4pPr marL="964372" indent="0">
              <a:buNone/>
              <a:defRPr sz="600"/>
            </a:lvl4pPr>
            <a:lvl5pPr marL="1285829" indent="0">
              <a:buNone/>
              <a:defRPr sz="600"/>
            </a:lvl5pPr>
            <a:lvl6pPr marL="1607287" indent="0">
              <a:buNone/>
              <a:defRPr sz="600"/>
            </a:lvl6pPr>
            <a:lvl7pPr marL="1928744" indent="0">
              <a:buNone/>
              <a:defRPr sz="600"/>
            </a:lvl7pPr>
            <a:lvl8pPr marL="2250201" indent="0">
              <a:buNone/>
              <a:defRPr sz="600"/>
            </a:lvl8pPr>
            <a:lvl9pPr marL="2571659" indent="0">
              <a:buNone/>
              <a:defRPr sz="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222750855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635" y="4800824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635" y="612800"/>
            <a:ext cx="5486177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457" indent="0">
              <a:buNone/>
              <a:defRPr sz="2000"/>
            </a:lvl2pPr>
            <a:lvl3pPr marL="642915" indent="0">
              <a:buNone/>
              <a:defRPr sz="1700"/>
            </a:lvl3pPr>
            <a:lvl4pPr marL="964372" indent="0">
              <a:buNone/>
              <a:defRPr sz="1400"/>
            </a:lvl4pPr>
            <a:lvl5pPr marL="1285829" indent="0">
              <a:buNone/>
              <a:defRPr sz="1400"/>
            </a:lvl5pPr>
            <a:lvl6pPr marL="1607287" indent="0">
              <a:buNone/>
              <a:defRPr sz="1400"/>
            </a:lvl6pPr>
            <a:lvl7pPr marL="1928744" indent="0">
              <a:buNone/>
              <a:defRPr sz="1400"/>
            </a:lvl7pPr>
            <a:lvl8pPr marL="2250201" indent="0">
              <a:buNone/>
              <a:defRPr sz="1400"/>
            </a:lvl8pPr>
            <a:lvl9pPr marL="2571659" indent="0">
              <a:buNone/>
              <a:defRPr sz="14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635" y="5367859"/>
            <a:ext cx="5486177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457" indent="0">
              <a:buNone/>
              <a:defRPr sz="800"/>
            </a:lvl2pPr>
            <a:lvl3pPr marL="642915" indent="0">
              <a:buNone/>
              <a:defRPr sz="700"/>
            </a:lvl3pPr>
            <a:lvl4pPr marL="964372" indent="0">
              <a:buNone/>
              <a:defRPr sz="600"/>
            </a:lvl4pPr>
            <a:lvl5pPr marL="1285829" indent="0">
              <a:buNone/>
              <a:defRPr sz="600"/>
            </a:lvl5pPr>
            <a:lvl6pPr marL="1607287" indent="0">
              <a:buNone/>
              <a:defRPr sz="600"/>
            </a:lvl6pPr>
            <a:lvl7pPr marL="1928744" indent="0">
              <a:buNone/>
              <a:defRPr sz="600"/>
            </a:lvl7pPr>
            <a:lvl8pPr marL="2250201" indent="0">
              <a:buNone/>
              <a:defRPr sz="600"/>
            </a:lvl8pPr>
            <a:lvl9pPr marL="2571659" indent="0">
              <a:buNone/>
              <a:defRPr sz="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</p:spTree>
    <p:extLst>
      <p:ext uri="{BB962C8B-B14F-4D97-AF65-F5344CB8AC3E}">
        <p14:creationId xmlns:p14="http://schemas.microsoft.com/office/powerpoint/2010/main" val="97476146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3792939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523137" y="312539"/>
            <a:ext cx="1951137" cy="5938242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669727" y="312539"/>
            <a:ext cx="5746254" cy="5938242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39463157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EF6118-B26D-4A8E-8E51-A7FA868953A2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F7914E-C10A-4380-B472-FB89A0CC5E5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01960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370274-8157-4149-8E2E-B13F40E5148F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D8CE5A-C6F9-4896-93BE-E5846CE1393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50429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4D3139-F362-46CF-82E1-63BA2E43D008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068909-DDC8-4CA6-AE6E-11E226F25EA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92806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E500B8-E7CF-4BC4-9444-C76EAB221B13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BCC950-3137-4866-BA38-17B2963C30FE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4870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1F3461-A598-4D65-B79D-42B9BF3902CC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AE8F58-D6E3-47BC-8EC4-5C96FC90C72E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05642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 b="1">
                <a:latin typeface="Centaur" pitchFamily="18" charset="0"/>
                <a:ea typeface="新細明體" pitchFamily="18" charset="-120"/>
              </a:defRPr>
            </a:lvl1pPr>
          </a:lstStyle>
          <a:p>
            <a:pPr>
              <a:defRPr/>
            </a:pPr>
            <a:fld id="{9F28DBF9-DBA6-4253-87AB-570AA07C3783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 b="1">
                <a:latin typeface="Centaur" pitchFamily="18" charset="0"/>
                <a:ea typeface="新細明體" pitchFamily="18" charset="-120"/>
              </a:defRPr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 b="1">
                <a:latin typeface="Centaur" pitchFamily="18" charset="0"/>
                <a:ea typeface="新細明體" pitchFamily="18" charset="-120"/>
              </a:defRPr>
            </a:lvl1pPr>
          </a:lstStyle>
          <a:p>
            <a:pPr>
              <a:defRPr/>
            </a:pPr>
            <a:fld id="{A433D455-10B5-4D4C-A88D-15BF967BFD82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68586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標題投影片 1 1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ape 142" descr="C:\Users\irene.yang\Desktop\PPT-cover.JPG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646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hape 139"/>
          <p:cNvSpPr txBox="1">
            <a:spLocks noGrp="1"/>
          </p:cNvSpPr>
          <p:nvPr>
            <p:ph type="dt" idx="10"/>
          </p:nvPr>
        </p:nvSpPr>
        <p:spPr/>
        <p:txBody>
          <a:bodyPr wrap="square" lIns="77225" tIns="77225" rIns="77225" bIns="77225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buSzPct val="120000"/>
              <a:defRPr sz="1000">
                <a:solidFill>
                  <a:srgbClr val="888888"/>
                </a:solidFill>
                <a:sym typeface="Calibri" pitchFamily="34" charset="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4" name="Shape 140"/>
          <p:cNvSpPr txBox="1">
            <a:spLocks noGrp="1"/>
          </p:cNvSpPr>
          <p:nvPr>
            <p:ph type="ftr" idx="11"/>
          </p:nvPr>
        </p:nvSpPr>
        <p:spPr/>
        <p:txBody>
          <a:bodyPr wrap="square" lIns="77225" tIns="77225" rIns="77225" bIns="77225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buSzPct val="120000"/>
              <a:defRPr sz="1000">
                <a:solidFill>
                  <a:srgbClr val="888888"/>
                </a:solidFill>
                <a:sym typeface="Calibri" pitchFamily="34" charset="0"/>
              </a:defRPr>
            </a:lvl1pPr>
          </a:lstStyle>
          <a:p>
            <a:pPr>
              <a:defRPr/>
            </a:pPr>
            <a:endParaRPr lang="zh-TW" altLang="zh-TW"/>
          </a:p>
        </p:txBody>
      </p:sp>
      <p:sp>
        <p:nvSpPr>
          <p:cNvPr id="5" name="Shape 141"/>
          <p:cNvSpPr txBox="1">
            <a:spLocks noGrp="1"/>
          </p:cNvSpPr>
          <p:nvPr>
            <p:ph type="sldNum" idx="12"/>
          </p:nvPr>
        </p:nvSpPr>
        <p:spPr/>
        <p:txBody>
          <a:bodyPr wrap="square" lIns="77225" tIns="38600" rIns="77225" bIns="38600" numCol="1" anchorCtr="0" compatLnSpc="1">
            <a:prstTxWarp prst="textNoShape">
              <a:avLst/>
            </a:prstTxWarp>
            <a:no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buSzPct val="25000"/>
              <a:defRPr sz="1000">
                <a:solidFill>
                  <a:srgbClr val="888888"/>
                </a:solidFill>
                <a:sym typeface="Calibri" pitchFamily="34" charset="0"/>
              </a:defRPr>
            </a:lvl1pPr>
          </a:lstStyle>
          <a:p>
            <a:pPr>
              <a:defRPr/>
            </a:pPr>
            <a:fld id="{1B1D75E8-7599-4055-98A0-426AE4DA1B21}" type="slidenum">
              <a:rPr lang="zh-TW" altLang="zh-TW"/>
              <a:pPr>
                <a:defRPr/>
              </a:pPr>
              <a:t>‹#›</a:t>
            </a:fld>
            <a:endParaRPr lang="zh-TW" altLang="zh-TW"/>
          </a:p>
        </p:txBody>
      </p:sp>
    </p:spTree>
    <p:extLst>
      <p:ext uri="{BB962C8B-B14F-4D97-AF65-F5344CB8AC3E}">
        <p14:creationId xmlns:p14="http://schemas.microsoft.com/office/powerpoint/2010/main" val="327480187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2C4AB7E0-A345-477C-AC17-43C98D3C56C1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7F387FE3-BC9C-41B2-85DE-65E5B1EC8A06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68300128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C5D1A566-CE23-4F98-810B-8FB73DAFC1C7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63BD046B-8ED4-4D6F-90B2-529B7ED260F4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2934389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98C75202-BE2B-42F6-9BFA-EDFC6B58AF7D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A1D1467F-0740-426D-B38B-A573C690059E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4848905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200153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200153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F7BBCB99-8CB0-4CC4-A57C-AE678C507BF6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24E1EEDD-9477-439C-849A-810577DCFBF1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9754440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70A7E853-4ADD-4742-8920-F5452C243620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31A2213E-A88D-4CA7-AAC5-11D7E0E7BD23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9281254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6B4DC77B-8877-4E82-A107-C0E248F91748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25EB6024-3D54-4EED-82CF-E7547759C052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4086117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87F9E969-6E5B-4CBE-9A93-3F47B420159C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51DE9401-853B-4988-B22B-3038E94704B6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4762248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8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8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9495323E-CE4B-4B47-BD85-B38D8C9132C5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1199C163-E82F-4F10-B439-E027065424D8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73899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017573"/>
            <a:ext cx="7315200" cy="1293592"/>
          </a:xfrm>
        </p:spPr>
        <p:txBody>
          <a:bodyPr anchor="t"/>
          <a:lstStyle>
            <a:lvl1pPr algn="l">
              <a:defRPr sz="4000" b="0" cap="none"/>
            </a:lvl1pPr>
          </a:lstStyle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3865101"/>
            <a:ext cx="7315200" cy="1098439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698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9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97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95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94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93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9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9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957677-0922-4A49-939A-A42D1C6E3DAF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1D0773-F3D3-4B31-8D07-4131C6242FD4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474155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2FBD991A-24F3-4E9D-8498-DEBD94B82D46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AB0FE9C3-0C0C-4B43-B94F-5CA33CCD856D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5931064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DA5D7F24-418E-45AC-8FDA-48FB826CD5A0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4C07F95A-F76F-4452-A432-83E2656A63CF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4013834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06377"/>
            <a:ext cx="2057400" cy="4387851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06377"/>
            <a:ext cx="6019800" cy="4387851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A20189F9-539D-4F02-8D50-4AA8B0968C3B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charset="0"/>
                <a:ea typeface="新細明體" charset="-120"/>
              </a:defRPr>
            </a:lvl1pPr>
          </a:lstStyle>
          <a:p>
            <a:pPr>
              <a:defRPr/>
            </a:pPr>
            <a:fld id="{6DC1870C-72C7-407E-BF42-9C28197221D4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62017080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群組 6"/>
          <p:cNvGrpSpPr>
            <a:grpSpLocks/>
          </p:cNvGrpSpPr>
          <p:nvPr userDrawn="1"/>
        </p:nvGrpSpPr>
        <p:grpSpPr bwMode="auto">
          <a:xfrm>
            <a:off x="0" y="0"/>
            <a:ext cx="9144000" cy="6902450"/>
            <a:chOff x="0" y="0"/>
            <a:chExt cx="12192000" cy="6901764"/>
          </a:xfrm>
        </p:grpSpPr>
        <p:pic>
          <p:nvPicPr>
            <p:cNvPr id="3" name="Picture 3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5717136" cy="69017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Picture 3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0252" y="0"/>
              <a:ext cx="7931748" cy="69017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1189722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nitor 2007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704202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/>
              <a:t>按一下以編輯母片副標題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9663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9085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89035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46010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7485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914400" y="1544720"/>
            <a:ext cx="7315200" cy="1154097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914400" y="2743200"/>
            <a:ext cx="3566160" cy="359359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1728" y="2743204"/>
            <a:ext cx="3566160" cy="3595687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C16582-D3A6-4BE2-B666-FC88913441EE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0DE96C-63F2-4151-9C1D-1DEEECF3AA9E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25776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9520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78335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19556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66538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28281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7513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3948" fontAlgn="base">
              <a:spcBef>
                <a:spcPct val="0"/>
              </a:spcBef>
              <a:spcAft>
                <a:spcPct val="0"/>
              </a:spcAft>
              <a:defRPr kumimoji="1" b="1">
                <a:latin typeface="Centaur" pitchFamily="18" charset="0"/>
                <a:ea typeface="Helvetica Light"/>
                <a:cs typeface="Helvetica Light"/>
              </a:defRPr>
            </a:lvl1pPr>
          </a:lstStyle>
          <a:p>
            <a:pPr>
              <a:defRPr/>
            </a:pPr>
            <a:fld id="{1A5708D1-482F-4D3F-9D9D-AB3E65B82771}" type="datetimeFigureOut">
              <a:rPr lang="en-US"/>
              <a:pPr>
                <a:defRPr/>
              </a:pPr>
              <a:t>4/2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3948" fontAlgn="base">
              <a:spcBef>
                <a:spcPct val="0"/>
              </a:spcBef>
              <a:spcAft>
                <a:spcPct val="0"/>
              </a:spcAft>
              <a:defRPr kumimoji="1" b="1">
                <a:latin typeface="Centaur" pitchFamily="18" charset="0"/>
                <a:ea typeface="Helvetica Light"/>
                <a:cs typeface="Helvetica Ligh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3948" fontAlgn="base">
              <a:spcBef>
                <a:spcPct val="0"/>
              </a:spcBef>
              <a:spcAft>
                <a:spcPct val="0"/>
              </a:spcAft>
              <a:defRPr kumimoji="1" b="1">
                <a:latin typeface="Centaur" pitchFamily="18" charset="0"/>
                <a:ea typeface="Helvetica Light"/>
                <a:cs typeface="Helvetica Light"/>
              </a:defRPr>
            </a:lvl1pPr>
          </a:lstStyle>
          <a:p>
            <a:pPr>
              <a:defRPr/>
            </a:pPr>
            <a:fld id="{DDADB2D1-75E5-43DE-BC76-0A7506FB72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0916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16348" y="2743200"/>
            <a:ext cx="3364992" cy="6217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 marL="456988" indent="0">
              <a:buNone/>
              <a:defRPr sz="2000" b="1"/>
            </a:lvl2pPr>
            <a:lvl3pPr marL="913977" indent="0">
              <a:buNone/>
              <a:defRPr sz="1800" b="1"/>
            </a:lvl3pPr>
            <a:lvl4pPr marL="1370970" indent="0">
              <a:buNone/>
              <a:defRPr sz="1600" b="1"/>
            </a:lvl4pPr>
            <a:lvl5pPr marL="1827959" indent="0">
              <a:buNone/>
              <a:defRPr sz="1600" b="1"/>
            </a:lvl5pPr>
            <a:lvl6pPr marL="2284947" indent="0">
              <a:buNone/>
              <a:defRPr sz="1600" b="1"/>
            </a:lvl6pPr>
            <a:lvl7pPr marL="2741939" indent="0">
              <a:buNone/>
              <a:defRPr sz="1600" b="1"/>
            </a:lvl7pPr>
            <a:lvl8pPr marL="3198924" indent="0">
              <a:buNone/>
              <a:defRPr sz="1600" b="1"/>
            </a:lvl8pPr>
            <a:lvl9pPr marL="365591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85144" y="2743200"/>
            <a:ext cx="3362062" cy="6217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solidFill>
                  <a:schemeClr val="tx2"/>
                </a:solidFill>
              </a:defRPr>
            </a:lvl1pPr>
            <a:lvl2pPr marL="456988" indent="0">
              <a:buNone/>
              <a:defRPr sz="2000" b="1"/>
            </a:lvl2pPr>
            <a:lvl3pPr marL="913977" indent="0">
              <a:buNone/>
              <a:defRPr sz="1800" b="1"/>
            </a:lvl3pPr>
            <a:lvl4pPr marL="1370970" indent="0">
              <a:buNone/>
              <a:defRPr sz="1600" b="1"/>
            </a:lvl4pPr>
            <a:lvl5pPr marL="1827959" indent="0">
              <a:buNone/>
              <a:defRPr sz="1600" b="1"/>
            </a:lvl5pPr>
            <a:lvl6pPr marL="2284947" indent="0">
              <a:buNone/>
              <a:defRPr sz="1600" b="1"/>
            </a:lvl6pPr>
            <a:lvl7pPr marL="2741939" indent="0">
              <a:buNone/>
              <a:defRPr sz="1600" b="1"/>
            </a:lvl7pPr>
            <a:lvl8pPr marL="3198924" indent="0">
              <a:buNone/>
              <a:defRPr sz="1600" b="1"/>
            </a:lvl8pPr>
            <a:lvl9pPr marL="3655917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914400" y="1544720"/>
            <a:ext cx="7315200" cy="1154097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914400" y="3383280"/>
            <a:ext cx="3566160" cy="29535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81727" y="3383280"/>
            <a:ext cx="3566160" cy="2953512"/>
          </a:xfrm>
        </p:spPr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1C484B-D911-44E2-86B6-8114DBECFF70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0EB8B-0BC0-4D27-8BE8-E9BC5880A0B1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2725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4B2DB8-5C27-4AD1-B68C-6E6D55D00240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362D5-9BD9-421B-A2D2-FC6CC7D35F23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4851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25B7BE-7B94-45D5-8E1D-CF5DF9CA82CE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3C5EEB-A95F-48D7-876F-0C6FF5E1FD31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9587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825367"/>
            <a:ext cx="2950936" cy="2173015"/>
          </a:xfrm>
        </p:spPr>
        <p:txBody>
          <a:bodyPr>
            <a:normAutofit/>
          </a:bodyPr>
          <a:lstStyle>
            <a:lvl1pPr algn="l">
              <a:defRPr sz="2800" b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1752" y="1826709"/>
            <a:ext cx="4207848" cy="4476614"/>
          </a:xfrm>
        </p:spPr>
        <p:txBody>
          <a:bodyPr anchor="ctr"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4061108"/>
            <a:ext cx="2950936" cy="2245387"/>
          </a:xfrm>
        </p:spPr>
        <p:txBody>
          <a:bodyPr/>
          <a:lstStyle>
            <a:lvl1pPr marL="0" indent="0">
              <a:buNone/>
              <a:defRPr sz="1400"/>
            </a:lvl1pPr>
            <a:lvl2pPr marL="456988" indent="0">
              <a:buNone/>
              <a:defRPr sz="1200"/>
            </a:lvl2pPr>
            <a:lvl3pPr marL="913977" indent="0">
              <a:buNone/>
              <a:defRPr sz="1000"/>
            </a:lvl3pPr>
            <a:lvl4pPr marL="1370970" indent="0">
              <a:buNone/>
              <a:defRPr sz="900"/>
            </a:lvl4pPr>
            <a:lvl5pPr marL="1827959" indent="0">
              <a:buNone/>
              <a:defRPr sz="900"/>
            </a:lvl5pPr>
            <a:lvl6pPr marL="2284947" indent="0">
              <a:buNone/>
              <a:defRPr sz="900"/>
            </a:lvl6pPr>
            <a:lvl7pPr marL="2741939" indent="0">
              <a:buNone/>
              <a:defRPr sz="900"/>
            </a:lvl7pPr>
            <a:lvl8pPr marL="3198924" indent="0">
              <a:buNone/>
              <a:defRPr sz="900"/>
            </a:lvl8pPr>
            <a:lvl9pPr marL="3655917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537615-A51C-4370-8943-E9BCE9477B0D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0E92A0-AFE9-4544-9B2E-6E444B5FC6F1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4586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828800"/>
            <a:ext cx="2953512" cy="2176272"/>
          </a:xfrm>
        </p:spPr>
        <p:txBody>
          <a:bodyPr>
            <a:normAutofit/>
          </a:bodyPr>
          <a:lstStyle>
            <a:lvl1pPr algn="l">
              <a:defRPr sz="2800" b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191000" y="2286000"/>
            <a:ext cx="4038600" cy="3352800"/>
          </a:xfrm>
          <a:solidFill>
            <a:schemeClr val="accent2"/>
          </a:solidFill>
          <a:ln w="12700">
            <a:noFill/>
          </a:ln>
          <a:effectLst>
            <a:reflection blurRad="12700" stA="30000" endPos="30000" dist="31750" dir="5400000" sy="-100000" algn="bl" rotWithShape="0"/>
          </a:effectLst>
          <a:scene3d>
            <a:camera prst="perspectiveRight" fov="2700000">
              <a:rot lat="240000" lon="900000" rev="0"/>
            </a:camera>
            <a:lightRig rig="threePt" dir="t">
              <a:rot lat="0" lon="0" rev="2700000"/>
            </a:lightRig>
          </a:scene3d>
          <a:sp3d/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988" indent="0">
              <a:buNone/>
              <a:defRPr sz="2800"/>
            </a:lvl2pPr>
            <a:lvl3pPr marL="913977" indent="0">
              <a:buNone/>
              <a:defRPr sz="2400"/>
            </a:lvl3pPr>
            <a:lvl4pPr marL="1370970" indent="0">
              <a:buNone/>
              <a:defRPr sz="2000"/>
            </a:lvl4pPr>
            <a:lvl5pPr marL="1827959" indent="0">
              <a:buNone/>
              <a:defRPr sz="2000"/>
            </a:lvl5pPr>
            <a:lvl6pPr marL="2284947" indent="0">
              <a:buNone/>
              <a:defRPr sz="2000"/>
            </a:lvl6pPr>
            <a:lvl7pPr marL="2741939" indent="0">
              <a:buNone/>
              <a:defRPr sz="2000"/>
            </a:lvl7pPr>
            <a:lvl8pPr marL="3198924" indent="0">
              <a:buNone/>
              <a:defRPr sz="2000"/>
            </a:lvl8pPr>
            <a:lvl9pPr marL="3655917" indent="0">
              <a:buNone/>
              <a:defRPr sz="2000"/>
            </a:lvl9pPr>
          </a:lstStyle>
          <a:p>
            <a:pPr lvl="0"/>
            <a:r>
              <a:rPr lang="zh-TW" altLang="en-US" noProof="0" smtClean="0"/>
              <a:t>按一下圖示以新增圖片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4400" y="4059936"/>
            <a:ext cx="2953512" cy="2249424"/>
          </a:xfrm>
        </p:spPr>
        <p:txBody>
          <a:bodyPr/>
          <a:lstStyle>
            <a:lvl1pPr marL="0" indent="0">
              <a:buNone/>
              <a:defRPr sz="1400"/>
            </a:lvl1pPr>
            <a:lvl2pPr marL="456988" indent="0">
              <a:buNone/>
              <a:defRPr sz="1200"/>
            </a:lvl2pPr>
            <a:lvl3pPr marL="913977" indent="0">
              <a:buNone/>
              <a:defRPr sz="1000"/>
            </a:lvl3pPr>
            <a:lvl4pPr marL="1370970" indent="0">
              <a:buNone/>
              <a:defRPr sz="900"/>
            </a:lvl4pPr>
            <a:lvl5pPr marL="1827959" indent="0">
              <a:buNone/>
              <a:defRPr sz="900"/>
            </a:lvl5pPr>
            <a:lvl6pPr marL="2284947" indent="0">
              <a:buNone/>
              <a:defRPr sz="900"/>
            </a:lvl6pPr>
            <a:lvl7pPr marL="2741939" indent="0">
              <a:buNone/>
              <a:defRPr sz="900"/>
            </a:lvl7pPr>
            <a:lvl8pPr marL="3198924" indent="0">
              <a:buNone/>
              <a:defRPr sz="900"/>
            </a:lvl8pPr>
            <a:lvl9pPr marL="3655917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10876F-DC15-4ECC-AC05-196F15EB2E3C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10BB60-724D-4693-9C31-6D32008D6703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9737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26018A-E110-4109-A174-AD0AC0A0E629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3B8D22-F408-4FCD-8FE9-A06E384F9209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3003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248411" y="1826709"/>
            <a:ext cx="1492499" cy="4484454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4524" y="1826709"/>
            <a:ext cx="5241476" cy="4484454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772054-18B6-48B4-8748-4A3C7FF37EF8}" type="datetimeFigureOut">
              <a:rPr lang="zh-TW" altLang="en-US">
                <a:solidFill>
                  <a:srgbClr val="FFFFFF">
                    <a:alpha val="50000"/>
                  </a:srgb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FFFFFF">
                  <a:alpha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F4B683-2AA4-4D10-AC72-F52EC875A383}" type="slidenum">
              <a:rPr lang="zh-TW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3980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標題與副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892995" y="1151965"/>
            <a:ext cx="7358063" cy="2321719"/>
          </a:xfrm>
          <a:prstGeom prst="rect">
            <a:avLst/>
          </a:prstGeom>
        </p:spPr>
        <p:txBody>
          <a:bodyPr/>
          <a:lstStyle/>
          <a:p>
            <a:pPr lvl="0"/>
            <a:r>
              <a:rPr/>
              <a:t>標題文字</a:t>
            </a:r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892995" y="3536156"/>
            <a:ext cx="7358063" cy="794742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SzTx/>
              <a:buNone/>
              <a:defRPr sz="2200"/>
            </a:lvl1pPr>
            <a:lvl2pPr marL="0" indent="160655" algn="ctr">
              <a:spcBef>
                <a:spcPts val="0"/>
              </a:spcBef>
              <a:buSzTx/>
              <a:buNone/>
              <a:defRPr sz="2200"/>
            </a:lvl2pPr>
            <a:lvl3pPr marL="0" indent="321308" algn="ctr">
              <a:spcBef>
                <a:spcPts val="0"/>
              </a:spcBef>
              <a:buSzTx/>
              <a:buNone/>
              <a:defRPr sz="2200"/>
            </a:lvl3pPr>
            <a:lvl4pPr marL="0" indent="481963" algn="ctr">
              <a:spcBef>
                <a:spcPts val="0"/>
              </a:spcBef>
              <a:buSzTx/>
              <a:buNone/>
              <a:defRPr sz="2200"/>
            </a:lvl4pPr>
            <a:lvl5pPr marL="0" indent="642618" algn="ctr">
              <a:spcBef>
                <a:spcPts val="0"/>
              </a:spcBef>
              <a:buSzTx/>
              <a:buNone/>
              <a:defRPr sz="2200"/>
            </a:lvl5pPr>
          </a:lstStyle>
          <a:p>
            <a:pPr lvl="0"/>
            <a:r>
              <a:rPr/>
              <a:t>內文層級一</a:t>
            </a:r>
          </a:p>
          <a:p>
            <a:pPr lvl="1"/>
            <a:r>
              <a:rPr/>
              <a:t>內文層級二</a:t>
            </a:r>
          </a:p>
          <a:p>
            <a:pPr lvl="2"/>
            <a:r>
              <a:rPr/>
              <a:t>內文層級三</a:t>
            </a:r>
          </a:p>
          <a:p>
            <a:pPr lvl="3"/>
            <a:r>
              <a:rPr/>
              <a:t>內文層級四</a:t>
            </a:r>
          </a:p>
          <a:p>
            <a:pPr lvl="4"/>
            <a:r>
              <a:rPr/>
              <a:t>內文層級五</a:t>
            </a:r>
          </a:p>
        </p:txBody>
      </p:sp>
    </p:spTree>
    <p:extLst>
      <p:ext uri="{BB962C8B-B14F-4D97-AF65-F5344CB8AC3E}">
        <p14:creationId xmlns:p14="http://schemas.microsoft.com/office/powerpoint/2010/main" val="1324877193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8916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339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210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92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85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77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69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62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5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47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73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0287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878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7919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0521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1778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3573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4396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61020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6786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1881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3114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18539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9609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1525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5106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88137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2050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4737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5084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1987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6849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503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592637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18518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77798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36999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296231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55503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14761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739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82338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8260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023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0987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4172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4136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58743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0804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624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0832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288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7"/>
            <a:ext cx="4038600" cy="3394075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7"/>
            <a:ext cx="4038600" cy="3394075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2919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824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7447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3843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4783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09366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12796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530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63986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5751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6560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592637" indent="0">
              <a:buNone/>
              <a:defRPr sz="2700" b="1"/>
            </a:lvl2pPr>
            <a:lvl3pPr marL="1185185" indent="0">
              <a:buNone/>
              <a:defRPr sz="2400" b="1"/>
            </a:lvl3pPr>
            <a:lvl4pPr marL="1777986" indent="0">
              <a:buNone/>
              <a:defRPr sz="2100" b="1"/>
            </a:lvl4pPr>
            <a:lvl5pPr marL="2369999" indent="0">
              <a:buNone/>
              <a:defRPr sz="2100" b="1"/>
            </a:lvl5pPr>
            <a:lvl6pPr marL="2962317" indent="0">
              <a:buNone/>
              <a:defRPr sz="2100" b="1"/>
            </a:lvl6pPr>
            <a:lvl7pPr marL="3555030" indent="0">
              <a:buNone/>
              <a:defRPr sz="2100" b="1"/>
            </a:lvl7pPr>
            <a:lvl8pPr marL="4147615" indent="0">
              <a:buNone/>
              <a:defRPr sz="2100" b="1"/>
            </a:lvl8pPr>
            <a:lvl9pPr marL="4739947" indent="0">
              <a:buNone/>
              <a:defRPr sz="2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6184" y="1535117"/>
            <a:ext cx="4041775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592637" indent="0">
              <a:buNone/>
              <a:defRPr sz="2700" b="1"/>
            </a:lvl2pPr>
            <a:lvl3pPr marL="1185185" indent="0">
              <a:buNone/>
              <a:defRPr sz="2400" b="1"/>
            </a:lvl3pPr>
            <a:lvl4pPr marL="1777986" indent="0">
              <a:buNone/>
              <a:defRPr sz="2100" b="1"/>
            </a:lvl4pPr>
            <a:lvl5pPr marL="2369999" indent="0">
              <a:buNone/>
              <a:defRPr sz="2100" b="1"/>
            </a:lvl5pPr>
            <a:lvl6pPr marL="2962317" indent="0">
              <a:buNone/>
              <a:defRPr sz="2100" b="1"/>
            </a:lvl6pPr>
            <a:lvl7pPr marL="3555030" indent="0">
              <a:buNone/>
              <a:defRPr sz="2100" b="1"/>
            </a:lvl7pPr>
            <a:lvl8pPr marL="4147615" indent="0">
              <a:buNone/>
              <a:defRPr sz="2100" b="1"/>
            </a:lvl8pPr>
            <a:lvl9pPr marL="4739947" indent="0">
              <a:buNone/>
              <a:defRPr sz="2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6184" y="2174875"/>
            <a:ext cx="4041775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87291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6018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9075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85DBEA-2851-49E3-8675-29B75F03A9E2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51A8B3-3761-498A-B827-BE3E3C2B643D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2620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567A79-95CE-43F5-A486-D240537D8EB1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99952-FA01-47C4-B778-DCD6A6AB9633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4426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64604D-2969-4014-979F-260D637388F6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6D12E0-0487-4595-8100-5086929882A7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19086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448EA1-A8B2-4A25-83CC-05CE8297ABDB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3CCBE4-B93A-4645-BA1D-CF6E62D1F465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08295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FC309B-D3A1-418A-B82C-AC1784695196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9A7782-A2DC-4708-AD15-EE074E50BFB7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25726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9BBF65-3269-4975-97B4-8F0351231F31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E67884-6C69-46A4-AEE5-8E82ED072047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6921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28AA65-7FB3-4262-9064-F467460FA6DB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DD00A2-3DB9-4CF9-8BA9-82948ECCA403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83082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BBCF74-B3E3-4524-94D7-92938616EA88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FA537E-CAFF-4A66-AF79-CCD961B17DBE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1969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33185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6C9CA2-45B9-4011-9E25-A646C3F2660D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4AD5D8-1977-4073-9CA5-99A759735DA4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2382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30E9AA-326E-4657-B2DA-37098BBFE5DB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0C4A7D-9847-46D5-A167-B2FB938DCA79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3830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477127-7119-4BB5-AF88-5326FA8C7A9A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EA79A8-9EF6-409E-8A92-A497CAC8611C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7394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CCB563-F5BF-4887-8666-62FC3B3B72F8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00D700-E0C8-41A0-A0CC-6EEF63582D05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46484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58525-867A-4947-8FF8-FB2D1FD59472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85FCF8-7B18-437A-AA67-9A55A4EAFCAA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75391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81F04E-41EE-4704-B07D-87590A3A3F7C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AF1AE-A223-4359-9A35-CCBE89A7BF5A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99612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D89714-2CB0-41C3-9117-7CB55D888250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E60425-55DE-494C-A266-759FF9846472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83572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E70247-DB0C-49EE-8513-0A37F6F2E48B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5E1D7D-998F-4073-8502-A045D2E73A10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81003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D2B254-841A-4FB9-A4CE-2A218C3F00BA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49A162-97F6-4A28-9F1A-3F8F36BF0237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80799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DD47EA-7FA1-4D3E-87C6-D1E8F2EA425F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CA3FEB-5312-4250-B54C-5F0BBEB282F4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792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4904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F53ACC-B609-4525-9140-9562E72B9BF0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385ED-5A0B-4519-9AE0-2B7331518A43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44763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TW" altLang="en-US" noProof="0" smtClean="0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5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452A4A-B363-45C5-B3ED-DD847096AC4E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F71863-49EA-468E-8F3B-F262C481998F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7980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DFE78F-23D7-41BD-97D3-2AD2454B7CD1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9E64D0-960F-4B3E-9810-FB83CFE6B7BE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3617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FECA45-FE93-444F-B396-058D9E693461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6404B5-BC15-4F14-B1BD-1D463D4705FC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00548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7010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2674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區段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50532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8498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19439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0856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theme" Target="../theme/theme14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image" Target="../media/image5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8.xml"/><Relationship Id="rId7" Type="http://schemas.openxmlformats.org/officeDocument/2006/relationships/theme" Target="../theme/theme19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69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76.xml"/><Relationship Id="rId10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186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4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9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976" tIns="45695" rIns="89976" bIns="456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71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4"/>
            <a:ext cx="7886700" cy="435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976" tIns="45695" rIns="89976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88"/>
            <a:ext cx="2057400" cy="365125"/>
          </a:xfrm>
          <a:prstGeom prst="rect">
            <a:avLst/>
          </a:prstGeom>
        </p:spPr>
        <p:txBody>
          <a:bodyPr vert="horz" lIns="89976" tIns="45695" rIns="89976" bIns="45695" rtlCol="0" anchor="ctr"/>
          <a:lstStyle>
            <a:lvl1pPr algn="l" defTabSz="913902" fontAlgn="auto">
              <a:spcBef>
                <a:spcPts val="0"/>
              </a:spcBef>
              <a:spcAft>
                <a:spcPts val="0"/>
              </a:spcAft>
              <a:defRPr kumimoji="0" sz="1200" b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defRPr>
            </a:lvl1pPr>
          </a:lstStyle>
          <a:p>
            <a:pPr>
              <a:defRPr/>
            </a:pPr>
            <a:fld id="{A53919E8-6CCA-4FEA-BCA7-E354CDE13FE5}" type="datetimeFigureOut">
              <a:rPr lang="en-US"/>
              <a:pPr>
                <a:defRPr/>
              </a:pPr>
              <a:t>4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88"/>
            <a:ext cx="3086100" cy="365125"/>
          </a:xfrm>
          <a:prstGeom prst="rect">
            <a:avLst/>
          </a:prstGeom>
        </p:spPr>
        <p:txBody>
          <a:bodyPr vert="horz" lIns="89976" tIns="45695" rIns="89976" bIns="45695" rtlCol="0" anchor="ctr"/>
          <a:lstStyle>
            <a:lvl1pPr algn="ctr" defTabSz="913902" fontAlgn="auto">
              <a:spcBef>
                <a:spcPts val="0"/>
              </a:spcBef>
              <a:spcAft>
                <a:spcPts val="0"/>
              </a:spcAft>
              <a:defRPr kumimoji="0" sz="1200" b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88"/>
            <a:ext cx="2057400" cy="365125"/>
          </a:xfrm>
          <a:prstGeom prst="rect">
            <a:avLst/>
          </a:prstGeom>
        </p:spPr>
        <p:txBody>
          <a:bodyPr vert="horz" lIns="89976" tIns="45695" rIns="89976" bIns="45695" rtlCol="0" anchor="ctr"/>
          <a:lstStyle>
            <a:lvl1pPr algn="r" defTabSz="913902" fontAlgn="auto">
              <a:spcBef>
                <a:spcPts val="0"/>
              </a:spcBef>
              <a:spcAft>
                <a:spcPts val="0"/>
              </a:spcAft>
              <a:defRPr kumimoji="0" sz="1200" b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defRPr>
            </a:lvl1pPr>
          </a:lstStyle>
          <a:p>
            <a:pPr>
              <a:defRPr/>
            </a:pPr>
            <a:fld id="{241C3DC0-D2FC-435E-A06C-6E69D0A33D0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93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2pPr>
      <a:lvl3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3pPr>
      <a:lvl4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4pPr>
      <a:lvl5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5pPr>
      <a:lvl6pPr marL="456975" algn="l" defTabSz="896494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6pPr>
      <a:lvl7pPr marL="913948" algn="l" defTabSz="896494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7pPr>
      <a:lvl8pPr marL="1370921" algn="l" defTabSz="896494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8pPr>
      <a:lvl9pPr marL="1827896" algn="l" defTabSz="896494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9pPr>
    </p:titleStyle>
    <p:bodyStyle>
      <a:lvl1pPr marL="220663" indent="-220663" algn="l" defTabSz="89376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220663" algn="l" defTabSz="893763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19188" indent="-220663" algn="l" defTabSz="893763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8450" indent="-220663" algn="l" defTabSz="893763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17713" indent="-220663" algn="l" defTabSz="893763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9112" indent="-224690" algn="l" defTabSz="89786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18106" indent="-224690" algn="l" defTabSz="89786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7176" indent="-224690" algn="l" defTabSz="89786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15959" indent="-224690" algn="l" defTabSz="89786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48437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97868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46843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5930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45017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93450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42274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91313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ED5844-960C-416C-BECB-0BF7B005AD60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332EE0-6B2F-4AE5-8DE1-576F1D5FF1E1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030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標題版面配置區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</a:p>
        </p:txBody>
      </p:sp>
      <p:sp>
        <p:nvSpPr>
          <p:cNvPr id="1027" name="文字版面配置區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E8E6574F-4963-488F-B2D2-4E0A7CEC9EF9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3A6CA3A0-0F0C-4D98-BA6E-A6542268EC46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057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標題版面配置區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</a:p>
        </p:txBody>
      </p:sp>
      <p:sp>
        <p:nvSpPr>
          <p:cNvPr id="1027" name="文字版面配置區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64F12B85-BBB6-4B90-A067-3E48C8FDB221}" type="datetimeFigureOut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D5F012EA-FCFA-41AD-BC5D-C7E471BA80BE}" type="slidenum">
              <a:rPr lang="zh-TW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873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新細明體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9F6D0E-5EA8-4BDA-87A5-8083728750B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C6C12F-C6CC-49C0-85FE-3A7D4BFCFD14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705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  <p:sldLayoutId id="214748393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8467" y="-8468"/>
            <a:ext cx="9171317" cy="6874935"/>
            <a:chOff x="-8467" y="-8468"/>
            <a:chExt cx="9171317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00"/>
              <a:ext cx="457200" cy="285326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8" name="Straight Connector 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1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1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Freeform 14"/>
            <p:cNvSpPr/>
            <p:nvPr/>
          </p:nvSpPr>
          <p:spPr>
            <a:xfrm>
              <a:off x="8094165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15"/>
            <p:cNvSpPr/>
            <p:nvPr/>
          </p:nvSpPr>
          <p:spPr>
            <a:xfrm>
              <a:off x="8068764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599" y="609600"/>
            <a:ext cx="6347713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9" y="2160590"/>
            <a:ext cx="6347714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5258" y="6041363"/>
            <a:ext cx="6841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71A7F0-0894-48C1-BD03-F021F314F98C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599" y="6041363"/>
            <a:ext cx="4622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4676" y="6041363"/>
            <a:ext cx="512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99D30FB0-F0B0-4CBD-BE33-A198045D3516}" type="slidenum">
              <a:rPr lang="zh-TW" altLang="en-US" smtClean="0">
                <a:solidFill>
                  <a:srgbClr val="5FCBEF"/>
                </a:solidFill>
              </a:rPr>
              <a:pPr/>
              <a:t>‹#›</a:t>
            </a:fld>
            <a:endParaRPr lang="zh-TW" altLang="en-US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041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矩形 27"/>
          <p:cNvSpPr/>
          <p:nvPr/>
        </p:nvSpPr>
        <p:spPr>
          <a:xfrm>
            <a:off x="0" y="366713"/>
            <a:ext cx="9144000" cy="8413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0" y="0"/>
            <a:ext cx="9144000" cy="31115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0" y="307975"/>
            <a:ext cx="9144000" cy="9207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 flipV="1">
            <a:off x="5410200" y="360363"/>
            <a:ext cx="3733800" cy="904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2" name="矩形 31"/>
          <p:cNvSpPr/>
          <p:nvPr/>
        </p:nvSpPr>
        <p:spPr>
          <a:xfrm flipV="1">
            <a:off x="5410200" y="439738"/>
            <a:ext cx="3733800" cy="1809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33" name="圓角矩形 32"/>
          <p:cNvSpPr/>
          <p:nvPr/>
        </p:nvSpPr>
        <p:spPr bwMode="white">
          <a:xfrm>
            <a:off x="5407025" y="496888"/>
            <a:ext cx="3063875" cy="2857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34" name="圓角矩形 33"/>
          <p:cNvSpPr/>
          <p:nvPr/>
        </p:nvSpPr>
        <p:spPr bwMode="white">
          <a:xfrm>
            <a:off x="7373938" y="588963"/>
            <a:ext cx="1600200" cy="3651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5" name="矩形 34"/>
          <p:cNvSpPr/>
          <p:nvPr/>
        </p:nvSpPr>
        <p:spPr bwMode="invGray">
          <a:xfrm>
            <a:off x="9085263" y="-1588"/>
            <a:ext cx="57150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6" name="矩形 35"/>
          <p:cNvSpPr/>
          <p:nvPr/>
        </p:nvSpPr>
        <p:spPr bwMode="invGray">
          <a:xfrm>
            <a:off x="9043988" y="-1588"/>
            <a:ext cx="28575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矩形 36"/>
          <p:cNvSpPr/>
          <p:nvPr/>
        </p:nvSpPr>
        <p:spPr bwMode="invGray">
          <a:xfrm>
            <a:off x="9024938" y="-1588"/>
            <a:ext cx="9525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8" name="矩形 37"/>
          <p:cNvSpPr/>
          <p:nvPr/>
        </p:nvSpPr>
        <p:spPr bwMode="invGray">
          <a:xfrm>
            <a:off x="8975725" y="-1588"/>
            <a:ext cx="26988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9" name="矩形 38"/>
          <p:cNvSpPr/>
          <p:nvPr/>
        </p:nvSpPr>
        <p:spPr bwMode="invGray">
          <a:xfrm>
            <a:off x="8915400" y="0"/>
            <a:ext cx="55563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0" name="矩形 39"/>
          <p:cNvSpPr/>
          <p:nvPr/>
        </p:nvSpPr>
        <p:spPr bwMode="invGray">
          <a:xfrm>
            <a:off x="8874125" y="0"/>
            <a:ext cx="7938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39" name="標題版面配置區 21"/>
          <p:cNvSpPr>
            <a:spLocks noGrp="1"/>
          </p:cNvSpPr>
          <p:nvPr>
            <p:ph type="title"/>
          </p:nvPr>
        </p:nvSpPr>
        <p:spPr bwMode="auto">
          <a:xfrm>
            <a:off x="457200" y="1143000"/>
            <a:ext cx="82296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  <a:endParaRPr lang="en-US" altLang="zh-TW" smtClean="0"/>
          </a:p>
        </p:txBody>
      </p:sp>
      <p:sp>
        <p:nvSpPr>
          <p:cNvPr id="1040" name="文字版面配置區 12"/>
          <p:cNvSpPr>
            <a:spLocks noGrp="1"/>
          </p:cNvSpPr>
          <p:nvPr>
            <p:ph type="body" idx="1"/>
          </p:nvPr>
        </p:nvSpPr>
        <p:spPr bwMode="auto">
          <a:xfrm>
            <a:off x="457200" y="2249488"/>
            <a:ext cx="8229600" cy="432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altLang="zh-TW" smtClean="0"/>
          </a:p>
        </p:txBody>
      </p:sp>
      <p:sp>
        <p:nvSpPr>
          <p:cNvPr id="14" name="日期版面配置區 13"/>
          <p:cNvSpPr>
            <a:spLocks noGrp="1"/>
          </p:cNvSpPr>
          <p:nvPr>
            <p:ph type="dt" sz="half" idx="2"/>
          </p:nvPr>
        </p:nvSpPr>
        <p:spPr>
          <a:xfrm>
            <a:off x="6586538" y="612775"/>
            <a:ext cx="957262" cy="457200"/>
          </a:xfrm>
          <a:prstGeom prst="rect">
            <a:avLst/>
          </a:prstGeom>
        </p:spPr>
        <p:txBody>
          <a:bodyPr vert="horz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AA54CB4-702F-4EB3-8E0A-4AA2F43D1C9E}" type="datetimeFigureOut">
              <a:rPr lang="zh-TW" altLang="en-US">
                <a:solidFill>
                  <a:srgbClr val="4584D3"/>
                </a:solidFill>
              </a:rPr>
              <a:pPr>
                <a:defRPr/>
              </a:pPr>
              <a:t>2017/4/25</a:t>
            </a:fld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3"/>
          </p:nvPr>
        </p:nvSpPr>
        <p:spPr>
          <a:xfrm>
            <a:off x="5257800" y="612775"/>
            <a:ext cx="1325563" cy="457200"/>
          </a:xfrm>
          <a:prstGeom prst="rect">
            <a:avLst/>
          </a:prstGeom>
        </p:spPr>
        <p:txBody>
          <a:bodyPr vert="horz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800">
                <a:solidFill>
                  <a:schemeClr val="accent2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>
              <a:solidFill>
                <a:srgbClr val="4584D3"/>
              </a:solidFill>
            </a:endParaRPr>
          </a:p>
        </p:txBody>
      </p:sp>
      <p:sp>
        <p:nvSpPr>
          <p:cNvPr id="23" name="投影片編號版面配置區 22"/>
          <p:cNvSpPr>
            <a:spLocks noGrp="1"/>
          </p:cNvSpPr>
          <p:nvPr>
            <p:ph type="sldNum" sz="quarter" idx="4"/>
          </p:nvPr>
        </p:nvSpPr>
        <p:spPr>
          <a:xfrm>
            <a:off x="8174038" y="1588"/>
            <a:ext cx="762000" cy="366712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800">
                <a:solidFill>
                  <a:srgbClr val="FFFFFF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138ABE79-BD23-4EB8-AF06-915481439EDA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45127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微軟正黑體" pitchFamily="34" charset="-12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微軟正黑體" pitchFamily="34" charset="-12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微軟正黑體" pitchFamily="34" charset="-12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微軟正黑體" pitchFamily="34" charset="-12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微軟正黑體" pitchFamily="34" charset="-12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微軟正黑體" pitchFamily="34" charset="-12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微軟正黑體" pitchFamily="34" charset="-12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  <a:ea typeface="微軟正黑體" pitchFamily="34" charset="-120"/>
        </a:defRPr>
      </a:lvl9pPr>
    </p:titleStyle>
    <p:bodyStyle>
      <a:lvl1pPr marL="365125" indent="-255588" algn="l" rtl="0" eaLnBrk="0" fontAlgn="base" hangingPunct="0">
        <a:spcBef>
          <a:spcPts val="300"/>
        </a:spcBef>
        <a:spcAft>
          <a:spcPct val="0"/>
        </a:spcAft>
        <a:buClr>
          <a:srgbClr val="5BD078"/>
        </a:buClr>
        <a:buFont typeface="Georgia" pitchFamily="18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57225" indent="-246063" algn="l" rtl="0" eaLnBrk="0" fontAlgn="base" hangingPunct="0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922338" indent="-21907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79513" indent="-200025" algn="l" rtl="0" eaLnBrk="0" fontAlgn="base" hangingPunct="0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389063" indent="-182563" algn="l" rtl="0" eaLnBrk="0" fontAlgn="base" hangingPunct="0">
        <a:spcBef>
          <a:spcPts val="300"/>
        </a:spcBef>
        <a:spcAft>
          <a:spcPct val="0"/>
        </a:spcAft>
        <a:buClr>
          <a:srgbClr val="5BD078"/>
        </a:buClr>
        <a:buFont typeface="Georgia" pitchFamily="18" charset="0"/>
        <a:buChar char="▫"/>
        <a:defRPr sz="2000" kern="1200">
          <a:solidFill>
            <a:srgbClr val="5BD078"/>
          </a:solidFill>
          <a:latin typeface="+mn-lt"/>
          <a:ea typeface="+mn-ea"/>
          <a:cs typeface="+mn-cs"/>
        </a:defRPr>
      </a:lvl5pPr>
      <a:lvl6pPr marL="1609344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6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5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40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</a:p>
        </p:txBody>
      </p:sp>
      <p:sp>
        <p:nvSpPr>
          <p:cNvPr id="9523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337300"/>
            <a:ext cx="14763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zh-TW">
              <a:solidFill>
                <a:srgbClr val="000000"/>
              </a:solidFill>
            </a:endParaRPr>
          </a:p>
        </p:txBody>
      </p:sp>
      <p:sp>
        <p:nvSpPr>
          <p:cNvPr id="9523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10400" y="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4773872-C673-4057-9DE4-A8CFA0A43199}" type="slidenum">
              <a:rPr kumimoji="1" lang="en-US" altLang="zh-TW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altLang="zh-TW">
              <a:solidFill>
                <a:srgbClr val="000000"/>
              </a:solidFill>
            </a:endParaRPr>
          </a:p>
        </p:txBody>
      </p:sp>
      <p:pic>
        <p:nvPicPr>
          <p:cNvPr id="1030" name="Picture 10" descr="D:\資料備份-勿刪\桌面\2015 Template_事務用品\PPT\一般.jp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0"/>
            <a:ext cx="9180513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4637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7" descr="商周簡介ppt背景"/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100" y="0"/>
            <a:ext cx="9290050" cy="696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728345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按一下以編輯母片標題樣式</a:t>
            </a:r>
          </a:p>
        </p:txBody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按一下以編輯母片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000000"/>
                </a:solidFill>
                <a:latin typeface="Arial" charset="0"/>
                <a:ea typeface="新細明體" pitchFamily="18" charset="-12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zh-TW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>
                <a:solidFill>
                  <a:srgbClr val="000000"/>
                </a:solidFill>
                <a:latin typeface="Arial" charset="0"/>
                <a:ea typeface="新細明體" pitchFamily="18" charset="-12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zh-TW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rgbClr val="000000"/>
                </a:solidFill>
                <a:latin typeface="Arial" charset="0"/>
                <a:ea typeface="新細明體" pitchFamily="18" charset="-12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12E2DD6-E952-4C79-8F23-DA9CFD5633C1}" type="slidenum">
              <a:rPr kumimoji="1" lang="en-US" altLang="zh-TW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altLang="zh-TW"/>
          </a:p>
        </p:txBody>
      </p:sp>
    </p:spTree>
    <p:extLst>
      <p:ext uri="{BB962C8B-B14F-4D97-AF65-F5344CB8AC3E}">
        <p14:creationId xmlns:p14="http://schemas.microsoft.com/office/powerpoint/2010/main" val="336443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  <p:sldLayoutId id="2147484004" r:id="rId9"/>
    <p:sldLayoutId id="2147484005" r:id="rId10"/>
    <p:sldLayoutId id="2147484006" r:id="rId11"/>
    <p:sldLayoutId id="2147484007" r:id="rId12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微軟正黑體" pitchFamily="34" charset="-120"/>
          <a:ea typeface="微軟正黑體" pitchFamily="34" charset="-12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微軟正黑體" pitchFamily="34" charset="-120"/>
          <a:ea typeface="微軟正黑體" pitchFamily="34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微軟正黑體" pitchFamily="34" charset="-120"/>
          <a:ea typeface="微軟正黑體" pitchFamily="34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微軟正黑體" pitchFamily="34" charset="-120"/>
          <a:ea typeface="微軟正黑體" pitchFamily="34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微軟正黑體" pitchFamily="34" charset="-120"/>
          <a:ea typeface="微軟正黑體" pitchFamily="34" charset="-120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pitchFamily="18" charset="-120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pitchFamily="18" charset="-120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pitchFamily="18" charset="-120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pitchFamily="18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微軟正黑體" pitchFamily="34" charset="-120"/>
          <a:ea typeface="微軟正黑體" pitchFamily="34" charset="-12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微軟正黑體" pitchFamily="34" charset="-120"/>
          <a:ea typeface="微軟正黑體" pitchFamily="34" charset="-12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微軟正黑體" pitchFamily="34" charset="-120"/>
          <a:ea typeface="微軟正黑體" pitchFamily="34" charset="-12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微軟正黑體" pitchFamily="34" charset="-120"/>
          <a:ea typeface="微軟正黑體" pitchFamily="34" charset="-12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微軟正黑體" pitchFamily="34" charset="-120"/>
          <a:ea typeface="微軟正黑體" pitchFamily="34" charset="-12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/>
          </p:cNvSpPr>
          <p:nvPr>
            <p:ph type="title"/>
          </p:nvPr>
        </p:nvSpPr>
        <p:spPr bwMode="auto">
          <a:xfrm>
            <a:off x="669727" y="312539"/>
            <a:ext cx="7804547" cy="1518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TW" smtClean="0">
                <a:sym typeface="Helvetica Light" charset="0"/>
              </a:rPr>
              <a:t>Click to edit Master title style</a:t>
            </a:r>
          </a:p>
        </p:txBody>
      </p:sp>
      <p:sp>
        <p:nvSpPr>
          <p:cNvPr id="1026" name="Rectangle 2"/>
          <p:cNvSpPr>
            <a:spLocks noGrp="1"/>
          </p:cNvSpPr>
          <p:nvPr>
            <p:ph type="body" idx="1"/>
          </p:nvPr>
        </p:nvSpPr>
        <p:spPr bwMode="auto">
          <a:xfrm>
            <a:off x="669727" y="1830586"/>
            <a:ext cx="7804547" cy="44201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zh-TW" smtClean="0">
                <a:sym typeface="Helvetica Light" charset="0"/>
              </a:rPr>
              <a:t>Click to edit Master text styles</a:t>
            </a:r>
          </a:p>
          <a:p>
            <a:pPr lvl="1"/>
            <a:r>
              <a:rPr lang="zh-TW" altLang="zh-TW" smtClean="0">
                <a:sym typeface="Helvetica Light" charset="0"/>
              </a:rPr>
              <a:t>Second level</a:t>
            </a:r>
          </a:p>
          <a:p>
            <a:pPr lvl="2"/>
            <a:r>
              <a:rPr lang="zh-TW" altLang="zh-TW" smtClean="0">
                <a:sym typeface="Helvetica Light" charset="0"/>
              </a:rPr>
              <a:t>Third level</a:t>
            </a:r>
          </a:p>
          <a:p>
            <a:pPr lvl="3"/>
            <a:r>
              <a:rPr lang="zh-TW" altLang="zh-TW" smtClean="0">
                <a:sym typeface="Helvetica Light" charset="0"/>
              </a:rPr>
              <a:t>Fourth level</a:t>
            </a:r>
          </a:p>
          <a:p>
            <a:pPr lvl="4"/>
            <a:r>
              <a:rPr lang="zh-TW" altLang="zh-TW" smtClean="0">
                <a:sym typeface="Helvetica Light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9531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</p:sldLayoutIdLst>
  <p:txStyles>
    <p:titleStyle>
      <a:lvl1pPr algn="ctr" defTabSz="410751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+mj-lt"/>
          <a:ea typeface="+mj-ea"/>
          <a:cs typeface="+mj-cs"/>
          <a:sym typeface="Helvetica Light" charset="0"/>
        </a:defRPr>
      </a:lvl1pPr>
      <a:lvl2pPr algn="ctr" defTabSz="410751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2pPr>
      <a:lvl3pPr algn="ctr" defTabSz="410751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3pPr>
      <a:lvl4pPr algn="ctr" defTabSz="410751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4pPr>
      <a:lvl5pPr algn="ctr" defTabSz="410751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5pPr>
      <a:lvl6pPr marL="321457" algn="ctr" defTabSz="410751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6pPr>
      <a:lvl7pPr marL="642915" algn="ctr" defTabSz="410751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7pPr>
      <a:lvl8pPr marL="964372" algn="ctr" defTabSz="410751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8pPr>
      <a:lvl9pPr marL="1285829" algn="ctr" defTabSz="410751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9pPr>
    </p:titleStyle>
    <p:bodyStyle>
      <a:lvl1pPr marL="312528" indent="-312528" algn="l" defTabSz="410751" rtl="0" fontAlgn="base" hangingPunct="0">
        <a:spcBef>
          <a:spcPts val="2953"/>
        </a:spcBef>
        <a:spcAft>
          <a:spcPct val="0"/>
        </a:spcAft>
        <a:buSzPct val="75000"/>
        <a:buChar char="•"/>
        <a:defRPr sz="25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1pPr>
      <a:lvl2pPr marL="937584" indent="-625056" algn="l" defTabSz="410751" rtl="0" fontAlgn="base" hangingPunct="0">
        <a:spcBef>
          <a:spcPts val="2953"/>
        </a:spcBef>
        <a:spcAft>
          <a:spcPct val="0"/>
        </a:spcAft>
        <a:buSzPct val="75000"/>
        <a:buChar char="•"/>
        <a:defRPr sz="25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2pPr>
      <a:lvl3pPr marL="1250112" indent="-625056" algn="l" defTabSz="410751" rtl="0" fontAlgn="base" hangingPunct="0">
        <a:spcBef>
          <a:spcPts val="2953"/>
        </a:spcBef>
        <a:spcAft>
          <a:spcPct val="0"/>
        </a:spcAft>
        <a:buSzPct val="75000"/>
        <a:buChar char="•"/>
        <a:defRPr sz="25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3pPr>
      <a:lvl4pPr marL="1562640" indent="-625056" algn="l" defTabSz="410751" rtl="0" fontAlgn="base" hangingPunct="0">
        <a:spcBef>
          <a:spcPts val="2953"/>
        </a:spcBef>
        <a:spcAft>
          <a:spcPct val="0"/>
        </a:spcAft>
        <a:buSzPct val="75000"/>
        <a:buChar char="•"/>
        <a:defRPr sz="25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4pPr>
      <a:lvl5pPr marL="1875168" indent="-625056" algn="l" defTabSz="410751" rtl="0" fontAlgn="base" hangingPunct="0">
        <a:spcBef>
          <a:spcPts val="2953"/>
        </a:spcBef>
        <a:spcAft>
          <a:spcPct val="0"/>
        </a:spcAft>
        <a:buSzPct val="75000"/>
        <a:buChar char="•"/>
        <a:defRPr sz="25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5pPr>
      <a:lvl6pPr marL="2196625" indent="-625056" algn="l" defTabSz="410751" rtl="0" fontAlgn="base" hangingPunct="0">
        <a:spcBef>
          <a:spcPts val="2953"/>
        </a:spcBef>
        <a:spcAft>
          <a:spcPct val="0"/>
        </a:spcAft>
        <a:buSzPct val="75000"/>
        <a:buChar char="•"/>
        <a:defRPr sz="25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6pPr>
      <a:lvl7pPr marL="2518082" indent="-625056" algn="l" defTabSz="410751" rtl="0" fontAlgn="base" hangingPunct="0">
        <a:spcBef>
          <a:spcPts val="2953"/>
        </a:spcBef>
        <a:spcAft>
          <a:spcPct val="0"/>
        </a:spcAft>
        <a:buSzPct val="75000"/>
        <a:buChar char="•"/>
        <a:defRPr sz="25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7pPr>
      <a:lvl8pPr marL="2839540" indent="-625056" algn="l" defTabSz="410751" rtl="0" fontAlgn="base" hangingPunct="0">
        <a:spcBef>
          <a:spcPts val="2953"/>
        </a:spcBef>
        <a:spcAft>
          <a:spcPct val="0"/>
        </a:spcAft>
        <a:buSzPct val="75000"/>
        <a:buChar char="•"/>
        <a:defRPr sz="25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8pPr>
      <a:lvl9pPr marL="3160997" indent="-625056" algn="l" defTabSz="410751" rtl="0" fontAlgn="base" hangingPunct="0">
        <a:spcBef>
          <a:spcPts val="2953"/>
        </a:spcBef>
        <a:spcAft>
          <a:spcPct val="0"/>
        </a:spcAft>
        <a:buSzPct val="75000"/>
        <a:buChar char="•"/>
        <a:defRPr sz="25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9pPr>
    </p:bodyStyle>
    <p:otherStyle>
      <a:defPPr>
        <a:defRPr lang="zh-TW"/>
      </a:defPPr>
      <a:lvl1pPr marL="0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457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15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4372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9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7287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744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50201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1659" algn="l" defTabSz="64291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9DE7EF86-F7ED-4D3A-B844-03D5BF95129E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5061B964-BBF7-4E10-8C6E-994C65A859C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714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9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976" tIns="45695" rIns="89976" bIns="456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Click to edit Master title style</a:t>
            </a:r>
          </a:p>
        </p:txBody>
      </p:sp>
      <p:sp>
        <p:nvSpPr>
          <p:cNvPr id="819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4"/>
            <a:ext cx="7886700" cy="435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976" tIns="45695" rIns="89976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smtClean="0"/>
              <a:t>Edit Master text styles</a:t>
            </a:r>
          </a:p>
          <a:p>
            <a:pPr lvl="1"/>
            <a:r>
              <a:rPr lang="en-US" altLang="zh-TW" smtClean="0"/>
              <a:t>Second level</a:t>
            </a:r>
          </a:p>
          <a:p>
            <a:pPr lvl="2"/>
            <a:r>
              <a:rPr lang="en-US" altLang="zh-TW" smtClean="0"/>
              <a:t>Third level</a:t>
            </a:r>
          </a:p>
          <a:p>
            <a:pPr lvl="3"/>
            <a:r>
              <a:rPr lang="en-US" altLang="zh-TW" smtClean="0"/>
              <a:t>Fourth level</a:t>
            </a:r>
          </a:p>
          <a:p>
            <a:pPr lvl="4"/>
            <a:r>
              <a:rPr lang="en-US" altLang="zh-TW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88"/>
            <a:ext cx="2057400" cy="365125"/>
          </a:xfrm>
          <a:prstGeom prst="rect">
            <a:avLst/>
          </a:prstGeom>
        </p:spPr>
        <p:txBody>
          <a:bodyPr vert="horz" lIns="89976" tIns="45695" rIns="89976" bIns="45695" rtlCol="0" anchor="ctr"/>
          <a:lstStyle>
            <a:lvl1pPr algn="l" defTabSz="913902" fontAlgn="auto">
              <a:spcBef>
                <a:spcPts val="0"/>
              </a:spcBef>
              <a:spcAft>
                <a:spcPts val="0"/>
              </a:spcAft>
              <a:defRPr kumimoji="0" sz="1200" b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defRPr>
            </a:lvl1pPr>
          </a:lstStyle>
          <a:p>
            <a:pPr>
              <a:defRPr/>
            </a:pPr>
            <a:fld id="{D871F5FD-F4CB-434C-947F-F9C117A69704}" type="datetimeFigureOut">
              <a:rPr lang="en-US"/>
              <a:pPr>
                <a:defRPr/>
              </a:pPr>
              <a:t>4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88"/>
            <a:ext cx="3086100" cy="365125"/>
          </a:xfrm>
          <a:prstGeom prst="rect">
            <a:avLst/>
          </a:prstGeom>
        </p:spPr>
        <p:txBody>
          <a:bodyPr vert="horz" lIns="89976" tIns="45695" rIns="89976" bIns="45695" rtlCol="0" anchor="ctr"/>
          <a:lstStyle>
            <a:lvl1pPr algn="ctr" defTabSz="913902" fontAlgn="auto">
              <a:spcBef>
                <a:spcPts val="0"/>
              </a:spcBef>
              <a:spcAft>
                <a:spcPts val="0"/>
              </a:spcAft>
              <a:defRPr kumimoji="0" sz="1200" b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88"/>
            <a:ext cx="2057400" cy="365125"/>
          </a:xfrm>
          <a:prstGeom prst="rect">
            <a:avLst/>
          </a:prstGeom>
        </p:spPr>
        <p:txBody>
          <a:bodyPr vert="horz" lIns="89976" tIns="45695" rIns="89976" bIns="45695" rtlCol="0" anchor="ctr"/>
          <a:lstStyle>
            <a:lvl1pPr algn="r" defTabSz="913902" fontAlgn="auto">
              <a:spcBef>
                <a:spcPts val="0"/>
              </a:spcBef>
              <a:spcAft>
                <a:spcPts val="0"/>
              </a:spcAft>
              <a:defRPr kumimoji="0" sz="1200" b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defRPr>
            </a:lvl1pPr>
          </a:lstStyle>
          <a:p>
            <a:pPr>
              <a:defRPr/>
            </a:pPr>
            <a:fld id="{F2B2273D-7215-4187-B23F-79CCC11BC9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452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2pPr>
      <a:lvl3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3pPr>
      <a:lvl4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4pPr>
      <a:lvl5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5pPr>
      <a:lvl6pPr marL="456975" algn="l" defTabSz="896494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6pPr>
      <a:lvl7pPr marL="913948" algn="l" defTabSz="896494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7pPr>
      <a:lvl8pPr marL="1370921" algn="l" defTabSz="896494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8pPr>
      <a:lvl9pPr marL="1827896" algn="l" defTabSz="896494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9pPr>
    </p:titleStyle>
    <p:bodyStyle>
      <a:lvl1pPr marL="220663" indent="-220663" algn="l" defTabSz="893763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220663" algn="l" defTabSz="893763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19188" indent="-220663" algn="l" defTabSz="893763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8450" indent="-220663" algn="l" defTabSz="893763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17713" indent="-220663" algn="l" defTabSz="893763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9112" indent="-224690" algn="l" defTabSz="89786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18106" indent="-224690" algn="l" defTabSz="89786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7176" indent="-224690" algn="l" defTabSz="89786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15959" indent="-224690" algn="l" defTabSz="89786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48437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97868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46843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5930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45017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93450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42274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91313" algn="l" defTabSz="897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標題版面配置區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</a:p>
        </p:txBody>
      </p:sp>
      <p:sp>
        <p:nvSpPr>
          <p:cNvPr id="2051" name="文字版面配置區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Calibri"/>
                <a:ea typeface="新細明體"/>
              </a:defRPr>
            </a:lvl1pPr>
          </a:lstStyle>
          <a:p>
            <a:pPr>
              <a:defRPr/>
            </a:pPr>
            <a:fld id="{C1027952-B2C9-447F-A93B-29DF3D14A3E3}" type="datetimeFigureOut">
              <a:rPr lang="zh-TW" altLang="en-US"/>
              <a:pPr>
                <a:defRPr/>
              </a:pPr>
              <a:t>2017/4/25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Calibri"/>
                <a:ea typeface="新細明體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Calibri"/>
                <a:ea typeface="新細明體"/>
              </a:defRPr>
            </a:lvl1pPr>
          </a:lstStyle>
          <a:p>
            <a:pPr>
              <a:defRPr/>
            </a:pPr>
            <a:fld id="{C59B1A18-CE92-4530-98D4-F9ABC86559D5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611032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B2AA0A-E9A4-47A6-B4B2-65568DE69923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B3BC39-AABC-48DC-8120-573162240BC9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267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118885" tIns="59443" rIns="118885" bIns="5944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118885" tIns="59443" rIns="118885" bIns="5944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118885" tIns="59443" rIns="118885" bIns="59443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85185"/>
            <a:fld id="{DEC49813-8EE5-4798-8D0A-6CBECE7BCAA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185185"/>
              <a:t>4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118885" tIns="59443" rIns="118885" bIns="59443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85185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118885" tIns="59443" rIns="118885" bIns="59443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185185"/>
            <a:fld id="{A231D721-6F67-4243-B772-5B1894B325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185185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988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</p:sldLayoutIdLst>
  <p:timing>
    <p:tnLst>
      <p:par>
        <p:cTn id="1" dur="indefinite" restart="never" nodeType="tmRoot"/>
      </p:par>
    </p:tnLst>
  </p:timing>
  <p:txStyles>
    <p:titleStyle>
      <a:lvl1pPr algn="ctr" defTabSz="1185185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443872" indent="-443872" algn="l" defTabSz="1185185" rtl="0" eaLnBrk="1" latinLnBrk="0" hangingPunct="1">
        <a:spcBef>
          <a:spcPct val="20000"/>
        </a:spcBef>
        <a:buFont typeface="Arial" panose="020B0604020202020204" pitchFamily="34" charset="0"/>
        <a:buChar char="•"/>
        <a:defRPr sz="43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963239" indent="-370360" algn="l" defTabSz="1185185" rtl="0" eaLnBrk="1" latinLnBrk="0" hangingPunct="1">
        <a:spcBef>
          <a:spcPct val="20000"/>
        </a:spcBef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481446" indent="-295683" algn="l" defTabSz="1185185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2074147" indent="-295683" algn="l" defTabSz="1185185" rtl="0" eaLnBrk="1" latinLnBrk="0" hangingPunct="1">
        <a:spcBef>
          <a:spcPct val="20000"/>
        </a:spcBef>
        <a:buFont typeface="Arial" panose="020B0604020202020204" pitchFamily="34" charset="0"/>
        <a:buChar char="–"/>
        <a:defRPr sz="27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666089" indent="-295683" algn="l" defTabSz="1185185" rtl="0" eaLnBrk="1" latinLnBrk="0" hangingPunct="1">
        <a:spcBef>
          <a:spcPct val="20000"/>
        </a:spcBef>
        <a:buFont typeface="Arial" panose="020B0604020202020204" pitchFamily="34" charset="0"/>
        <a:buChar char="»"/>
        <a:defRPr sz="27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3258605" indent="-295683" algn="l" defTabSz="118518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851442" indent="-295683" algn="l" defTabSz="118518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443713" indent="-295683" algn="l" defTabSz="118518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036181" indent="-295683" algn="l" defTabSz="1185185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51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92637" algn="l" defTabSz="11851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85185" algn="l" defTabSz="11851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77986" algn="l" defTabSz="11851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369999" algn="l" defTabSz="11851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62317" algn="l" defTabSz="11851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55030" algn="l" defTabSz="11851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47615" algn="l" defTabSz="11851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739947" algn="l" defTabSz="11851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0020" tIns="45718" rIns="90020" bIns="45718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90020" tIns="45718" rIns="90020" bIns="45718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88"/>
            <a:ext cx="2057400" cy="365125"/>
          </a:xfrm>
          <a:prstGeom prst="rect">
            <a:avLst/>
          </a:prstGeom>
        </p:spPr>
        <p:txBody>
          <a:bodyPr vert="horz" lIns="90020" tIns="45718" rIns="90020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B2329B-0232-4C5F-976A-676715CDB8A7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4/25/2017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88"/>
            <a:ext cx="3086100" cy="365125"/>
          </a:xfrm>
          <a:prstGeom prst="rect">
            <a:avLst/>
          </a:prstGeom>
        </p:spPr>
        <p:txBody>
          <a:bodyPr vert="horz" lIns="90020" tIns="45718" rIns="90020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88"/>
            <a:ext cx="2057400" cy="365125"/>
          </a:xfrm>
          <a:prstGeom prst="rect">
            <a:avLst/>
          </a:prstGeom>
        </p:spPr>
        <p:txBody>
          <a:bodyPr vert="horz" lIns="90020" tIns="45718" rIns="90020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6EC942-C0EE-4E0F-9390-88C75B5F5C58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966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txStyles>
    <p:titleStyle>
      <a:lvl1pPr algn="l" defTabSz="89831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4802" indent="-224802" algn="l" defTabSz="89831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74406" indent="-224802" algn="l" defTabSz="8983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23063" indent="-224802" algn="l" defTabSz="8983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71723" indent="-224802" algn="l" defTabSz="8983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21052" indent="-224802" algn="l" defTabSz="8983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70333" indent="-224802" algn="l" defTabSz="8983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19550" indent="-224802" algn="l" defTabSz="8983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8842" indent="-224802" algn="l" defTabSz="8983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17847" indent="-224802" algn="l" defTabSz="8983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83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48659" algn="l" defTabSz="8983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898312" algn="l" defTabSz="8983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47509" algn="l" defTabSz="8983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6818" algn="l" defTabSz="8983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46127" algn="l" defTabSz="8983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694783" algn="l" defTabSz="8983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43829" algn="l" defTabSz="8983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593090" algn="l" defTabSz="89831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65406" tIns="34289" rIns="65406" bIns="3428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65406" tIns="34289" rIns="65406" bIns="34289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65406" tIns="34289" rIns="65406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50687"/>
            <a:fld id="{F2B2329B-0232-4C5F-976A-676715CDB8A7}" type="datetimeFigureOut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650687"/>
              <a:t>4/25/2017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65406" tIns="34289" rIns="65406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50687"/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65406" tIns="34289" rIns="65406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50687"/>
            <a:fld id="{E76EC942-C0EE-4E0F-9390-88C75B5F5C58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650687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834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txStyles>
    <p:titleStyle>
      <a:lvl1pPr algn="l" defTabSz="650687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2982" indent="-162982" algn="l" defTabSz="650687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488945" indent="-162982" algn="l" defTabSz="65068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12897" indent="-162982" algn="l" defTabSz="65068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38214" indent="-162982" algn="l" defTabSz="65068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825" indent="-162982" algn="l" defTabSz="65068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9139" indent="-162982" algn="l" defTabSz="65068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14192" indent="-162982" algn="l" defTabSz="65068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39437" indent="-162982" algn="l" defTabSz="65068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64814" indent="-162982" algn="l" defTabSz="65068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06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25088" algn="l" defTabSz="6506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50687" algn="l" defTabSz="6506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76286" algn="l" defTabSz="6506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01249" algn="l" defTabSz="6506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26390" algn="l" defTabSz="6506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951472" algn="l" defTabSz="6506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276831" algn="l" defTabSz="6506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01991" algn="l" defTabSz="65068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1B1D1F"/>
            </a:gs>
            <a:gs pos="64999">
              <a:srgbClr val="1E2022"/>
            </a:gs>
            <a:gs pos="100000">
              <a:srgbClr val="646668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435975" y="573088"/>
            <a:ext cx="85725" cy="5730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9" rIns="91397" bIns="45699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b="1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569325" y="573088"/>
            <a:ext cx="576263" cy="5730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7" tIns="45699" rIns="91397" bIns="45699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b="1">
              <a:solidFill>
                <a:srgbClr val="FFFFFF"/>
              </a:solidFill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914400" y="1544638"/>
            <a:ext cx="7315200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7" tIns="45699" rIns="91397" bIns="4569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  <a:endParaRPr lang="en-US" altLang="zh-TW" smtClean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14400" y="2770188"/>
            <a:ext cx="7315200" cy="353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7" tIns="45699" rIns="91397" bIns="4569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altLang="zh-TW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07100" y="549275"/>
            <a:ext cx="1189038" cy="296863"/>
          </a:xfrm>
          <a:prstGeom prst="rect">
            <a:avLst/>
          </a:prstGeom>
        </p:spPr>
        <p:txBody>
          <a:bodyPr vert="horz" lIns="91397" tIns="45699" rIns="91397" bIns="45699" rtlCol="0" anchor="ctr"/>
          <a:lstStyle>
            <a:lvl1pPr algn="l">
              <a:defRPr sz="1200">
                <a:solidFill>
                  <a:schemeClr val="tx1">
                    <a:alpha val="50000"/>
                  </a:schemeClr>
                </a:solidFill>
                <a:ea typeface="新細明體" pitchFamily="18" charset="-12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3AB68AB-1DF7-4B5A-A409-3A515925439B}" type="datetime1">
              <a:rPr kumimoji="1" lang="en-US" b="1">
                <a:solidFill>
                  <a:srgbClr val="FFFFFF">
                    <a:alpha val="50000"/>
                  </a:srgbClr>
                </a:solidFill>
                <a:latin typeface="Centaur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/25/2017</a:t>
            </a:fld>
            <a:endParaRPr kumimoji="1" lang="en-US" b="1" dirty="0">
              <a:solidFill>
                <a:srgbClr val="FFFFFF">
                  <a:alpha val="50000"/>
                </a:srgbClr>
              </a:solidFill>
              <a:latin typeface="Centaur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15200" y="549275"/>
            <a:ext cx="939800" cy="301625"/>
          </a:xfrm>
          <a:prstGeom prst="rect">
            <a:avLst/>
          </a:prstGeom>
        </p:spPr>
        <p:txBody>
          <a:bodyPr vert="horz" lIns="91397" tIns="45699" rIns="91397" bIns="45699" rtlCol="0" anchor="ctr"/>
          <a:lstStyle>
            <a:lvl1pPr algn="r">
              <a:defRPr sz="1200">
                <a:solidFill>
                  <a:schemeClr val="tx1"/>
                </a:solidFill>
                <a:ea typeface="新細明體" pitchFamily="18" charset="-12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981080-C472-4AB0-9597-01AD3109DBA9}" type="slidenum">
              <a:rPr kumimoji="1" lang="en-US" b="1">
                <a:solidFill>
                  <a:srgbClr val="FFFFFF"/>
                </a:solidFill>
                <a:latin typeface="Centaur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b="1">
              <a:solidFill>
                <a:srgbClr val="FFFFFF"/>
              </a:solidFill>
              <a:latin typeface="Centaur" pitchFamily="18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08688" y="855663"/>
            <a:ext cx="2246312" cy="301625"/>
          </a:xfrm>
          <a:prstGeom prst="rect">
            <a:avLst/>
          </a:prstGeom>
        </p:spPr>
        <p:txBody>
          <a:bodyPr vert="horz" lIns="91397" tIns="0" rIns="91397" bIns="45699" rtlCol="0" anchor="t"/>
          <a:lstStyle>
            <a:lvl1pPr algn="l">
              <a:defRPr sz="1000">
                <a:solidFill>
                  <a:schemeClr val="tx1"/>
                </a:solidFill>
                <a:ea typeface="新細明體" pitchFamily="18" charset="-12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b="1">
              <a:solidFill>
                <a:srgbClr val="FFFFFF"/>
              </a:solidFill>
              <a:latin typeface="Centaur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262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ea typeface="微軟正黑體" pitchFamily="34" charset="-12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ea typeface="微軟正黑體" pitchFamily="34" charset="-12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ea typeface="微軟正黑體" pitchFamily="34" charset="-12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ea typeface="微軟正黑體" pitchFamily="34" charset="-12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7013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0063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684213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2813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1413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370970" indent="-182795" algn="l" defTabSz="91397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599462" indent="-182795" algn="l" defTabSz="91397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27959" indent="-182795" algn="l" defTabSz="91397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056455" indent="-182795" algn="l" defTabSz="91397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8" algn="l" defTabSz="913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77" algn="l" defTabSz="913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0" algn="l" defTabSz="913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59" algn="l" defTabSz="913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47" algn="l" defTabSz="913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9" algn="l" defTabSz="913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24" algn="l" defTabSz="913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17" algn="l" defTabSz="9139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24223D-C4F8-4D6D-BFBC-66C4BC5ECA9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050DE-A3FB-41D3-9C1A-FC0C50799EC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89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54036E-3C58-455F-82D8-4ADE6B897444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010896-69FA-4338-BB3E-5102D7D3EEDA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368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按一下以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6C0762-F1F0-41A6-9D23-B565891D491E}" type="datetimeFigureOut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2017/4/25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7A2B7F-6EC3-4D9B-A835-324D106471DD}" type="slidenum">
              <a:rPr lang="zh-TW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TW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6834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7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7.xml"/><Relationship Id="rId6" Type="http://schemas.openxmlformats.org/officeDocument/2006/relationships/image" Target="../media/image55.jpeg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PowerPoint_97-2003_Presentation1.ppt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57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PowerPoint_97-2003_Presentation2.ppt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58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g"/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62.jpeg"/><Relationship Id="rId4" Type="http://schemas.openxmlformats.org/officeDocument/2006/relationships/image" Target="../media/image61.gi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PowerPoint_Presentation1.pptx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63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2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PowerPoint_97-2003_Presentation3.ppt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65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9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8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7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5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image" Target="../media/image72.emf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6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7.xml"/><Relationship Id="rId5" Type="http://schemas.openxmlformats.org/officeDocument/2006/relationships/image" Target="../media/image80.png"/><Relationship Id="rId4" Type="http://schemas.openxmlformats.org/officeDocument/2006/relationships/image" Target="../media/image79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81.jpe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27.xml"/><Relationship Id="rId5" Type="http://schemas.openxmlformats.org/officeDocument/2006/relationships/image" Target="../media/image78.png"/><Relationship Id="rId4" Type="http://schemas.openxmlformats.org/officeDocument/2006/relationships/image" Target="../media/image8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2.xml"/><Relationship Id="rId5" Type="http://schemas.openxmlformats.org/officeDocument/2006/relationships/image" Target="../media/image78.png"/><Relationship Id="rId4" Type="http://schemas.openxmlformats.org/officeDocument/2006/relationships/image" Target="../media/image90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g"/><Relationship Id="rId1" Type="http://schemas.openxmlformats.org/officeDocument/2006/relationships/slideLayout" Target="../slideLayouts/slideLayout10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g"/><Relationship Id="rId2" Type="http://schemas.openxmlformats.org/officeDocument/2006/relationships/image" Target="../media/image92.jpg"/><Relationship Id="rId1" Type="http://schemas.openxmlformats.org/officeDocument/2006/relationships/slideLayout" Target="../slideLayouts/slideLayout106.xml"/><Relationship Id="rId4" Type="http://schemas.openxmlformats.org/officeDocument/2006/relationships/image" Target="../media/image9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g"/><Relationship Id="rId1" Type="http://schemas.openxmlformats.org/officeDocument/2006/relationships/slideLayout" Target="../slideLayouts/slideLayout10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10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106.xml"/><Relationship Id="rId4" Type="http://schemas.openxmlformats.org/officeDocument/2006/relationships/image" Target="../media/image9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106.xml"/><Relationship Id="rId5" Type="http://schemas.openxmlformats.org/officeDocument/2006/relationships/image" Target="../media/image102.png"/><Relationship Id="rId4" Type="http://schemas.openxmlformats.org/officeDocument/2006/relationships/image" Target="../media/image101.jpe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g"/><Relationship Id="rId1" Type="http://schemas.openxmlformats.org/officeDocument/2006/relationships/slideLayout" Target="../slideLayouts/slideLayout10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7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178.xml"/><Relationship Id="rId5" Type="http://schemas.openxmlformats.org/officeDocument/2006/relationships/image" Target="../media/image108.png"/><Relationship Id="rId4" Type="http://schemas.openxmlformats.org/officeDocument/2006/relationships/image" Target="../media/image107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3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3" Type="http://schemas.openxmlformats.org/officeDocument/2006/relationships/image" Target="../media/image110.jpeg"/><Relationship Id="rId7" Type="http://schemas.openxmlformats.org/officeDocument/2006/relationships/image" Target="../media/image11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3.xml"/><Relationship Id="rId6" Type="http://schemas.openxmlformats.org/officeDocument/2006/relationships/image" Target="../media/image112.png"/><Relationship Id="rId5" Type="http://schemas.openxmlformats.org/officeDocument/2006/relationships/image" Target="../media/image107.jpeg"/><Relationship Id="rId4" Type="http://schemas.openxmlformats.org/officeDocument/2006/relationships/image" Target="../media/image111.jpeg"/><Relationship Id="rId9" Type="http://schemas.openxmlformats.org/officeDocument/2006/relationships/image" Target="../media/image10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eg"/><Relationship Id="rId2" Type="http://schemas.openxmlformats.org/officeDocument/2006/relationships/image" Target="../media/image115.jpeg"/><Relationship Id="rId1" Type="http://schemas.openxmlformats.org/officeDocument/2006/relationships/slideLayout" Target="../slideLayouts/slideLayout173.xml"/><Relationship Id="rId5" Type="http://schemas.openxmlformats.org/officeDocument/2006/relationships/image" Target="../media/image117.png"/><Relationship Id="rId4" Type="http://schemas.openxmlformats.org/officeDocument/2006/relationships/image" Target="../media/image10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6.wmf"/><Relationship Id="rId4" Type="http://schemas.openxmlformats.org/officeDocument/2006/relationships/image" Target="../media/image15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5.png"/><Relationship Id="rId3" Type="http://schemas.openxmlformats.org/officeDocument/2006/relationships/slideLayout" Target="../slideLayouts/slideLayout184.xml"/><Relationship Id="rId7" Type="http://schemas.openxmlformats.org/officeDocument/2006/relationships/image" Target="../media/image120.png"/><Relationship Id="rId12" Type="http://schemas.openxmlformats.org/officeDocument/2006/relationships/image" Target="../media/image124.png"/><Relationship Id="rId17" Type="http://schemas.openxmlformats.org/officeDocument/2006/relationships/image" Target="../media/image129.png"/><Relationship Id="rId2" Type="http://schemas.openxmlformats.org/officeDocument/2006/relationships/tags" Target="../tags/tag2.xml"/><Relationship Id="rId16" Type="http://schemas.openxmlformats.org/officeDocument/2006/relationships/image" Target="../media/image128.png"/><Relationship Id="rId1" Type="http://schemas.openxmlformats.org/officeDocument/2006/relationships/tags" Target="../tags/tag1.xml"/><Relationship Id="rId6" Type="http://schemas.openxmlformats.org/officeDocument/2006/relationships/image" Target="../media/image119.png"/><Relationship Id="rId11" Type="http://schemas.openxmlformats.org/officeDocument/2006/relationships/image" Target="../media/image123.png"/><Relationship Id="rId5" Type="http://schemas.openxmlformats.org/officeDocument/2006/relationships/image" Target="../media/image118.jpeg"/><Relationship Id="rId15" Type="http://schemas.openxmlformats.org/officeDocument/2006/relationships/image" Target="../media/image127.png"/><Relationship Id="rId10" Type="http://schemas.openxmlformats.org/officeDocument/2006/relationships/image" Target="../media/image122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08.png"/><Relationship Id="rId14" Type="http://schemas.openxmlformats.org/officeDocument/2006/relationships/image" Target="../media/image126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image" Target="../media/image131.jpeg"/><Relationship Id="rId7" Type="http://schemas.openxmlformats.org/officeDocument/2006/relationships/image" Target="../media/image120.png"/><Relationship Id="rId2" Type="http://schemas.openxmlformats.org/officeDocument/2006/relationships/image" Target="../media/image130.jpeg"/><Relationship Id="rId1" Type="http://schemas.openxmlformats.org/officeDocument/2006/relationships/slideLayout" Target="../slideLayouts/slideLayout170.xml"/><Relationship Id="rId6" Type="http://schemas.openxmlformats.org/officeDocument/2006/relationships/image" Target="../media/image133.png"/><Relationship Id="rId5" Type="http://schemas.openxmlformats.org/officeDocument/2006/relationships/image" Target="../media/image108.png"/><Relationship Id="rId4" Type="http://schemas.openxmlformats.org/officeDocument/2006/relationships/image" Target="../media/image132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slideLayout" Target="../slideLayouts/slideLayout173.xml"/><Relationship Id="rId1" Type="http://schemas.openxmlformats.org/officeDocument/2006/relationships/video" Target="file:///C:\Users\sharon\Desktop\&#32654;&#23433;&#19978;&#21488;&#31777;&#22577;0421\&#32654;&#23433;&#24433;&#38899;check4.mp4" TargetMode="External"/><Relationship Id="rId6" Type="http://schemas.openxmlformats.org/officeDocument/2006/relationships/image" Target="../media/image136.png"/><Relationship Id="rId5" Type="http://schemas.openxmlformats.org/officeDocument/2006/relationships/image" Target="../media/image135.png"/><Relationship Id="rId4" Type="http://schemas.openxmlformats.org/officeDocument/2006/relationships/image" Target="../media/image108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eg"/><Relationship Id="rId2" Type="http://schemas.openxmlformats.org/officeDocument/2006/relationships/image" Target="../media/image137.jpeg"/><Relationship Id="rId1" Type="http://schemas.openxmlformats.org/officeDocument/2006/relationships/slideLayout" Target="../slideLayouts/slideLayout170.xml"/><Relationship Id="rId5" Type="http://schemas.openxmlformats.org/officeDocument/2006/relationships/image" Target="../media/image136.png"/><Relationship Id="rId4" Type="http://schemas.openxmlformats.org/officeDocument/2006/relationships/image" Target="../media/image108.pn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39.jpeg"/><Relationship Id="rId7" Type="http://schemas.openxmlformats.org/officeDocument/2006/relationships/image" Target="../media/image14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9.xml"/><Relationship Id="rId6" Type="http://schemas.openxmlformats.org/officeDocument/2006/relationships/image" Target="../media/image142.png"/><Relationship Id="rId5" Type="http://schemas.openxmlformats.org/officeDocument/2006/relationships/image" Target="../media/image141.png"/><Relationship Id="rId4" Type="http://schemas.openxmlformats.org/officeDocument/2006/relationships/image" Target="../media/image14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69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jpeg"/><Relationship Id="rId1" Type="http://schemas.openxmlformats.org/officeDocument/2006/relationships/slideLayout" Target="../slideLayouts/slideLayout9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147.jpeg"/><Relationship Id="rId1" Type="http://schemas.openxmlformats.org/officeDocument/2006/relationships/slideLayout" Target="../slideLayouts/slideLayout149.xml"/><Relationship Id="rId4" Type="http://schemas.openxmlformats.org/officeDocument/2006/relationships/image" Target="../media/image149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png"/><Relationship Id="rId9" Type="http://schemas.openxmlformats.org/officeDocument/2006/relationships/image" Target="../media/image32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8" descr="C:\Users\Julias\AppData\Local\Microsoft\Windows\Temporary Internet Files\Content.IE5\FU1JUQGN\cloud-304979_640[1]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9872" y="1862521"/>
            <a:ext cx="5246911" cy="3238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0"/>
          <p:cNvSpPr/>
          <p:nvPr/>
        </p:nvSpPr>
        <p:spPr>
          <a:xfrm>
            <a:off x="210560" y="5509117"/>
            <a:ext cx="4552951" cy="769395"/>
          </a:xfrm>
          <a:prstGeom prst="rect">
            <a:avLst/>
          </a:prstGeom>
        </p:spPr>
        <p:txBody>
          <a:bodyPr wrap="none" lIns="91395" tIns="45697" rIns="91395" bIns="45697">
            <a:spAutoFit/>
          </a:bodyPr>
          <a:lstStyle/>
          <a:p>
            <a:pPr algn="ctr" defTabSz="1196829">
              <a:defRPr/>
            </a:pPr>
            <a:r>
              <a:rPr lang="zh-TW" altLang="en-US" sz="36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比</a:t>
            </a:r>
            <a:r>
              <a:rPr lang="en-US" altLang="zh-TW" sz="36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2015</a:t>
            </a:r>
            <a:r>
              <a:rPr lang="zh-TW" altLang="en-US" sz="36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年</a:t>
            </a:r>
            <a:r>
              <a:rPr lang="zh-TW" altLang="en-US" sz="4400" b="1" cap="all" dirty="0">
                <a:solidFill>
                  <a:srgbClr val="FFFF00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增加 </a:t>
            </a:r>
            <a:r>
              <a:rPr lang="en-US" altLang="zh-TW" sz="4400" cap="all" dirty="0">
                <a:solidFill>
                  <a:srgbClr val="FFFF00"/>
                </a:solidFill>
                <a:latin typeface="Raleway" panose="020B0503030101060003" pitchFamily="34" charset="0"/>
              </a:rPr>
              <a:t>12%</a:t>
            </a:r>
          </a:p>
        </p:txBody>
      </p:sp>
      <p:sp>
        <p:nvSpPr>
          <p:cNvPr id="14" name="Rectangle 9"/>
          <p:cNvSpPr/>
          <p:nvPr/>
        </p:nvSpPr>
        <p:spPr>
          <a:xfrm>
            <a:off x="2525740" y="317525"/>
            <a:ext cx="4115138" cy="1569614"/>
          </a:xfrm>
          <a:prstGeom prst="rect">
            <a:avLst/>
          </a:prstGeom>
        </p:spPr>
        <p:txBody>
          <a:bodyPr wrap="none" lIns="91395" tIns="45697" rIns="91395" bIns="45697">
            <a:spAutoFit/>
          </a:bodyPr>
          <a:lstStyle/>
          <a:p>
            <a:pPr algn="ctr" defTabSz="1196829">
              <a:defRPr/>
            </a:pPr>
            <a:r>
              <a:rPr lang="zh-TW" altLang="en-US" sz="48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網購族</a:t>
            </a:r>
            <a:r>
              <a:rPr lang="en-US" altLang="zh-TW" sz="48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16</a:t>
            </a:r>
            <a:r>
              <a:rPr lang="zh-TW" altLang="en-US" sz="48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年</a:t>
            </a:r>
            <a:endParaRPr lang="en-US" altLang="zh-TW" sz="4800" b="1" cap="all" dirty="0">
              <a:solidFill>
                <a:srgbClr val="F2F2F2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defTabSz="1196829">
              <a:defRPr/>
            </a:pPr>
            <a:r>
              <a:rPr lang="zh-TW" altLang="en-US" sz="4800" b="1" cap="all" dirty="0" smtClean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平均網路消費</a:t>
            </a:r>
            <a:endParaRPr lang="en-US" sz="4800" b="1" cap="all" dirty="0">
              <a:solidFill>
                <a:srgbClr val="F2F2F2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5" name="Rectangle 9"/>
          <p:cNvSpPr/>
          <p:nvPr/>
        </p:nvSpPr>
        <p:spPr>
          <a:xfrm>
            <a:off x="5251323" y="5824539"/>
            <a:ext cx="3454701" cy="307730"/>
          </a:xfrm>
          <a:prstGeom prst="rect">
            <a:avLst/>
          </a:prstGeom>
        </p:spPr>
        <p:txBody>
          <a:bodyPr wrap="none" lIns="91395" tIns="45697" rIns="91395" bIns="45697">
            <a:spAutoFit/>
          </a:bodyPr>
          <a:lstStyle/>
          <a:p>
            <a:pPr algn="ctr" defTabSz="1196829">
              <a:defRPr/>
            </a:pPr>
            <a:r>
              <a:rPr lang="zh-TW" altLang="en-US" sz="1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料來源</a:t>
            </a:r>
            <a:r>
              <a:rPr lang="en-US" altLang="zh-TW" sz="1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:</a:t>
            </a:r>
            <a:r>
              <a:rPr lang="zh-TW" altLang="en-US" sz="1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策會產業情報研究所（</a:t>
            </a:r>
            <a:r>
              <a:rPr lang="en-US" altLang="zh-TW" sz="1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MIC</a:t>
            </a:r>
            <a:r>
              <a:rPr lang="zh-TW" altLang="en-US" sz="1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）</a:t>
            </a:r>
            <a:endParaRPr lang="en-US" sz="1400" b="1" cap="all" dirty="0">
              <a:solidFill>
                <a:srgbClr val="F2F2F2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2395638" y="2852977"/>
            <a:ext cx="419258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196829">
              <a:tabLst>
                <a:tab pos="7774517" algn="l"/>
              </a:tabLst>
              <a:defRPr/>
            </a:pPr>
            <a:r>
              <a:rPr lang="en-US" altLang="zh-TW" sz="6000" b="1" dirty="0">
                <a:solidFill>
                  <a:srgbClr val="D6248E"/>
                </a:solidFill>
                <a:latin typeface="Raleway"/>
                <a:ea typeface="微軟正黑體" panose="020B0604030504040204" pitchFamily="34" charset="-120"/>
              </a:rPr>
              <a:t>NT</a:t>
            </a:r>
            <a:r>
              <a:rPr lang="en-US" altLang="zh-TW" sz="6000" b="1" cap="all" dirty="0">
                <a:solidFill>
                  <a:srgbClr val="D6248E"/>
                </a:solidFill>
                <a:latin typeface="Raleway" panose="020B0503030101060003" pitchFamily="34" charset="0"/>
              </a:rPr>
              <a:t>$27715</a:t>
            </a:r>
            <a:endParaRPr lang="en-US" altLang="zh-TW" sz="6000" b="1" cap="all" spc="-300" dirty="0">
              <a:solidFill>
                <a:srgbClr val="D6248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127764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7227" y="1109952"/>
            <a:ext cx="2412095" cy="2412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8329" y="1151911"/>
            <a:ext cx="2370138" cy="237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3745" y="3615014"/>
            <a:ext cx="2370138" cy="2370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9185" y="3637874"/>
            <a:ext cx="2370137" cy="2370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2"/>
          <p:cNvSpPr txBox="1">
            <a:spLocks/>
          </p:cNvSpPr>
          <p:nvPr/>
        </p:nvSpPr>
        <p:spPr>
          <a:xfrm>
            <a:off x="891722" y="91779"/>
            <a:ext cx="7315200" cy="1154112"/>
          </a:xfrm>
          <a:prstGeom prst="rect">
            <a:avLst/>
          </a:prstGeom>
        </p:spPr>
        <p:txBody>
          <a:bodyPr/>
          <a:lstStyle>
            <a:lvl1pPr algn="ctr" defTabSz="1185185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zh-TW" altLang="en-US" sz="60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新夥伴商店代表</a:t>
            </a:r>
            <a:endParaRPr lang="en-US" altLang="zh-TW" sz="6000" b="1" dirty="0" smtClean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" name="Rectangle 2"/>
          <p:cNvSpPr txBox="1">
            <a:spLocks/>
          </p:cNvSpPr>
          <p:nvPr/>
        </p:nvSpPr>
        <p:spPr>
          <a:xfrm>
            <a:off x="-2576495" y="2778944"/>
            <a:ext cx="7315200" cy="1154112"/>
          </a:xfrm>
          <a:prstGeom prst="rect">
            <a:avLst/>
          </a:prstGeom>
        </p:spPr>
        <p:txBody>
          <a:bodyPr/>
          <a:lstStyle>
            <a:lvl1pPr algn="ctr" defTabSz="1185185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en-US" altLang="zh-TW" sz="2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% </a:t>
            </a:r>
            <a:r>
              <a:rPr lang="en-US" altLang="zh-TW" sz="2400" b="1" dirty="0" err="1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bv</a:t>
            </a:r>
            <a:endParaRPr lang="en-US" altLang="zh-TW" sz="24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24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</a:t>
            </a:r>
            <a:r>
              <a:rPr lang="en-US" altLang="zh-TW" sz="2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 </a:t>
            </a:r>
            <a:r>
              <a:rPr lang="zh-TW" altLang="en-US" sz="24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現金回饋</a:t>
            </a:r>
            <a:endParaRPr lang="en-US" altLang="zh-TW" sz="24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28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28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008467" y="2655021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TW" altLang="en-US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</a:t>
            </a:r>
            <a:r>
              <a:rPr lang="en-US" altLang="zh-TW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% </a:t>
            </a:r>
            <a:r>
              <a:rPr lang="en-US" altLang="zh-TW" sz="2800" b="1" dirty="0" err="1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bv</a:t>
            </a:r>
            <a:endParaRPr lang="en-US" altLang="zh-TW" sz="28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% </a:t>
            </a:r>
            <a:r>
              <a:rPr lang="zh-TW" altLang="en-US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現金回饋</a:t>
            </a:r>
            <a:endParaRPr lang="en-US" altLang="zh-TW" sz="28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5" name="Rectangle 2"/>
          <p:cNvSpPr txBox="1">
            <a:spLocks/>
          </p:cNvSpPr>
          <p:nvPr/>
        </p:nvSpPr>
        <p:spPr>
          <a:xfrm>
            <a:off x="-2527176" y="5155208"/>
            <a:ext cx="7315200" cy="1154112"/>
          </a:xfrm>
          <a:prstGeom prst="rect">
            <a:avLst/>
          </a:prstGeom>
        </p:spPr>
        <p:txBody>
          <a:bodyPr/>
          <a:lstStyle>
            <a:lvl1pPr algn="ctr" defTabSz="1185185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en-US" altLang="zh-TW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4% </a:t>
            </a:r>
            <a:r>
              <a:rPr lang="en-US" altLang="zh-TW" sz="2800" b="1" dirty="0" err="1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bv</a:t>
            </a:r>
            <a:endParaRPr lang="en-US" altLang="zh-TW" sz="28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% </a:t>
            </a:r>
            <a:r>
              <a:rPr lang="zh-TW" altLang="en-US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現金回饋</a:t>
            </a:r>
            <a:endParaRPr lang="en-US" altLang="zh-TW" sz="28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28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28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988995" y="5183711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TW" altLang="en-US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</a:t>
            </a:r>
            <a:r>
              <a:rPr lang="en-US" altLang="zh-TW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% </a:t>
            </a:r>
            <a:r>
              <a:rPr lang="en-US" altLang="zh-TW" sz="2800" b="1" dirty="0" err="1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bv</a:t>
            </a:r>
            <a:endParaRPr lang="en-US" altLang="zh-TW" sz="28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en-US" altLang="zh-TW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% </a:t>
            </a:r>
            <a:r>
              <a:rPr lang="zh-TW" altLang="en-US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現金回饋</a:t>
            </a:r>
            <a:endParaRPr lang="en-US" altLang="zh-TW" sz="28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cxnSp>
        <p:nvCxnSpPr>
          <p:cNvPr id="5" name="直線接點 4"/>
          <p:cNvCxnSpPr/>
          <p:nvPr/>
        </p:nvCxnSpPr>
        <p:spPr>
          <a:xfrm>
            <a:off x="251520" y="3573016"/>
            <a:ext cx="8352928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接點 17"/>
          <p:cNvCxnSpPr/>
          <p:nvPr/>
        </p:nvCxnSpPr>
        <p:spPr>
          <a:xfrm>
            <a:off x="251520" y="6093296"/>
            <a:ext cx="8352928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7402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/>
          </p:cNvSpPr>
          <p:nvPr/>
        </p:nvSpPr>
        <p:spPr>
          <a:xfrm>
            <a:off x="0" y="13171"/>
            <a:ext cx="9172625" cy="1154112"/>
          </a:xfrm>
          <a:prstGeom prst="rect">
            <a:avLst/>
          </a:prstGeom>
        </p:spPr>
        <p:txBody>
          <a:bodyPr/>
          <a:lstStyle>
            <a:lvl1pPr algn="ctr" defTabSz="1185185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zh-TW" altLang="en-US" sz="60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美安會員高強</a:t>
            </a:r>
            <a:r>
              <a:rPr lang="zh-TW" altLang="en-US" sz="6000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</a:t>
            </a:r>
            <a:r>
              <a:rPr lang="zh-TW" altLang="en-US" sz="60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消費力</a:t>
            </a:r>
            <a:endParaRPr lang="en-US" altLang="zh-TW" sz="6000" b="1" dirty="0" smtClean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60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今周刊美安特刊告訴你</a:t>
            </a:r>
            <a:r>
              <a:rPr lang="en-US" altLang="zh-TW" sz="60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~</a:t>
            </a:r>
          </a:p>
        </p:txBody>
      </p:sp>
      <p:pic>
        <p:nvPicPr>
          <p:cNvPr id="2050" name="Picture 2" descr="C:\Users\Julias\Desktop\2016 TWLS Special Edition Business Toda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439" y="2780928"/>
            <a:ext cx="6006291" cy="3852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/>
          <p:cNvSpPr txBox="1">
            <a:spLocks/>
          </p:cNvSpPr>
          <p:nvPr/>
        </p:nvSpPr>
        <p:spPr>
          <a:xfrm>
            <a:off x="49086" y="1843832"/>
            <a:ext cx="9130829" cy="1154112"/>
          </a:xfrm>
          <a:prstGeom prst="rect">
            <a:avLst/>
          </a:prstGeom>
        </p:spPr>
        <p:txBody>
          <a:bodyPr/>
          <a:lstStyle>
            <a:lvl1pPr algn="ctr" defTabSz="1185185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zh-TW" altLang="en-US" sz="6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締造</a:t>
            </a:r>
            <a:r>
              <a:rPr lang="en-US" altLang="zh-TW" sz="6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0,000+</a:t>
            </a:r>
            <a:r>
              <a:rPr lang="zh-TW" altLang="en-US" sz="60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本銷售</a:t>
            </a:r>
            <a:endParaRPr lang="en-US" altLang="zh-TW" sz="60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323508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971600" y="4373261"/>
            <a:ext cx="835292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15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年初，</a:t>
            </a:r>
            <a:r>
              <a:rPr lang="en-US" altLang="zh-TW" sz="3200" b="1" dirty="0" err="1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OPlay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聽不累耳機在網路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銷售上突然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起色，集中在某幾個商城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結果發現，這些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城都有加入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美安平台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！</a:t>
            </a:r>
            <a:endParaRPr lang="zh-TW" altLang="en-US" sz="3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3356992"/>
            <a:ext cx="3625081" cy="969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矩形 5"/>
          <p:cNvSpPr/>
          <p:nvPr/>
        </p:nvSpPr>
        <p:spPr>
          <a:xfrm>
            <a:off x="2939256" y="1612304"/>
            <a:ext cx="583264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3200" b="1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以前</a:t>
            </a:r>
            <a:r>
              <a:rPr lang="en-US" altLang="zh-TW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lang="zh-TW" altLang="en-US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</a:t>
            </a:r>
            <a:r>
              <a:rPr lang="zh-TW" altLang="en-US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年才能賣到的數量，在美</a:t>
            </a:r>
            <a:r>
              <a:rPr lang="zh-TW" altLang="en-US" sz="3200" b="1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安只要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一星期就賣光</a:t>
            </a:r>
            <a:r>
              <a:rPr lang="zh-TW" altLang="en-US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了</a:t>
            </a:r>
            <a:r>
              <a:rPr lang="zh-TW" altLang="en-US" sz="3200" b="1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en-US" altLang="zh-TW" sz="3200" b="1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zh-TW" altLang="en-US" sz="3200" b="1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7" name="Picture 5" descr="C:\Users\Julias\Desktop\日曬麵logo曲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836712"/>
            <a:ext cx="1779588" cy="178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1027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531765" y="4622636"/>
            <a:ext cx="807268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購買</a:t>
            </a:r>
            <a:r>
              <a:rPr lang="zh-TW" altLang="en-US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除臭襪的美安</a:t>
            </a:r>
            <a:r>
              <a:rPr lang="zh-TW" altLang="en-US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會員遍</a:t>
            </a:r>
            <a:r>
              <a:rPr lang="zh-TW" altLang="en-US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布全台各縣市，經過他們的口碑推廣，品牌</a:t>
            </a:r>
            <a:r>
              <a:rPr lang="zh-TW" altLang="en-US" sz="28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名聲</a:t>
            </a:r>
            <a:r>
              <a:rPr lang="zh-TW" altLang="en-US" sz="28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逐漸在台灣各地傳開，</a:t>
            </a:r>
            <a:r>
              <a:rPr lang="zh-TW" altLang="en-US" sz="28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許多新</a:t>
            </a:r>
            <a:r>
              <a:rPr lang="zh-TW" altLang="en-US" sz="28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客人說，是</a:t>
            </a:r>
            <a:r>
              <a:rPr lang="zh-TW" altLang="en-US" sz="28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從美安會員口中認識了</a:t>
            </a:r>
            <a:r>
              <a:rPr lang="en-US" altLang="zh-TW" sz="28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sNug</a:t>
            </a:r>
            <a:r>
              <a:rPr lang="zh-TW" altLang="en-US" sz="28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除臭</a:t>
            </a:r>
            <a:r>
              <a:rPr lang="zh-TW" altLang="en-US" sz="28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襪的。</a:t>
            </a:r>
            <a:endParaRPr lang="zh-TW" altLang="en-US" sz="28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765" y="3573017"/>
            <a:ext cx="2600075" cy="104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矩形 3"/>
          <p:cNvSpPr/>
          <p:nvPr/>
        </p:nvSpPr>
        <p:spPr>
          <a:xfrm>
            <a:off x="479545" y="1715324"/>
            <a:ext cx="84129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美安的會員凝聚力很高，而且每一個會員</a:t>
            </a:r>
          </a:p>
          <a:p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都是一個經營者的概念，他們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不只買產品，還</a:t>
            </a:r>
          </a:p>
          <a:p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會幫你宣傳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讓更多人來買我們的產品。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」</a:t>
            </a:r>
            <a:endParaRPr lang="en-US" altLang="zh-TW" sz="32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" name="D8D32F96-83B4-41B1-ABE3-EB5172292D5A" descr="B351E9B2-5520-4182-B6A1-BF9D541B8EF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765" y="562000"/>
            <a:ext cx="260007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357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83568" y="4509120"/>
            <a:ext cx="786193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從</a:t>
            </a:r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15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年</a:t>
            </a:r>
            <a:r>
              <a:rPr lang="en-US" altLang="zh-TW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5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月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到</a:t>
            </a:r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016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年</a:t>
            </a:r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月，光是從美安這邊帶來的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業績就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高達</a:t>
            </a:r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800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多萬元，也因為它，我第一次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體會到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賣床包比賣麵包還簡單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！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」</a:t>
            </a:r>
            <a:endParaRPr lang="zh-TW" altLang="en-US" sz="3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49" y="3212976"/>
            <a:ext cx="1937289" cy="1113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矩形 6"/>
          <p:cNvSpPr/>
          <p:nvPr/>
        </p:nvSpPr>
        <p:spPr>
          <a:xfrm>
            <a:off x="683568" y="1460835"/>
            <a:ext cx="74168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與美安的成功合作經驗，讓</a:t>
            </a:r>
            <a:r>
              <a:rPr lang="en-US" altLang="zh-TW" sz="3200" b="1" dirty="0" err="1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abeauty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深信，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口碑式行銷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才是未來的銷售趨勢</a:t>
            </a:r>
            <a:r>
              <a:rPr lang="zh-TW" altLang="en-US" sz="3200" b="1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en-US" altLang="zh-TW" sz="3200" b="1" dirty="0" smtClean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49" y="620688"/>
            <a:ext cx="2409469" cy="758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357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611560" y="4293096"/>
            <a:ext cx="748883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GOMAJI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加入美安平台不久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即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體會到強勢通路高含金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流量的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威力，從第</a:t>
            </a:r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個月起</a:t>
            </a:r>
            <a:r>
              <a:rPr lang="en-US" altLang="zh-TW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GOMAJI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業績節節高升，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合作才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半年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從營收數字來看，已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成為</a:t>
            </a:r>
            <a:r>
              <a:rPr lang="en-US" altLang="zh-TW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GOMA </a:t>
            </a:r>
            <a:r>
              <a:rPr lang="en-US" altLang="zh-TW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J I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大的通路合作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夥伴。</a:t>
            </a:r>
            <a:endParaRPr lang="zh-TW" altLang="en-US" sz="3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70" y="3212976"/>
            <a:ext cx="325755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矩形 5"/>
          <p:cNvSpPr/>
          <p:nvPr/>
        </p:nvSpPr>
        <p:spPr>
          <a:xfrm>
            <a:off x="482278" y="1416485"/>
            <a:ext cx="784001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愛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合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購選擇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美安作為合作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夥伴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就是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衝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高營業額的新祕密武器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加入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美安後，愛合購果然在短時間內衝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高了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銷售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成績。</a:t>
            </a:r>
            <a:endParaRPr lang="zh-TW" altLang="en-US" sz="3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3314" name="Picture 2" descr="ii_j1xe2vqa0_15ba495d0e0dd49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-1353244"/>
            <a:ext cx="4495800" cy="449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2384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755575" y="4077072"/>
            <a:ext cx="799288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美安人的消費力與網購轉換率太令人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吃驚了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！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」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合作第</a:t>
            </a:r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個月業績就破百萬，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高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一個月創下</a:t>
            </a:r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,900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萬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元。網購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重視轉換率，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一般線上購物平台平均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只有</a:t>
            </a:r>
            <a:r>
              <a:rPr lang="en-US" altLang="zh-TW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%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（每</a:t>
            </a:r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0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人只有</a:t>
            </a:r>
            <a:r>
              <a:rPr lang="en-US" altLang="zh-TW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%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購買），然而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美安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卻高達</a:t>
            </a:r>
            <a:r>
              <a:rPr lang="en-US" altLang="zh-TW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8</a:t>
            </a:r>
            <a:r>
              <a:rPr lang="en-US" altLang="zh-TW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%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！</a:t>
            </a:r>
            <a:endParaRPr lang="zh-TW" altLang="en-US" sz="32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116" y="3173653"/>
            <a:ext cx="3095674" cy="773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矩形 7"/>
          <p:cNvSpPr/>
          <p:nvPr/>
        </p:nvSpPr>
        <p:spPr>
          <a:xfrm>
            <a:off x="755576" y="1412776"/>
            <a:ext cx="751986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sz="3200" b="1" dirty="0" err="1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GoHappy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在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近</a:t>
            </a:r>
            <a:r>
              <a:rPr lang="en-US" altLang="zh-TW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3</a:t>
            </a:r>
            <a:r>
              <a:rPr lang="zh-TW" altLang="en-US" sz="3200" b="1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年</a:t>
            </a:r>
            <a:r>
              <a:rPr lang="zh-TW" altLang="en-US" sz="32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每年有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超過</a:t>
            </a:r>
            <a:r>
              <a:rPr lang="en-US" altLang="zh-TW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50%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的成長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美</a:t>
            </a:r>
            <a:r>
              <a:rPr lang="zh-TW" altLang="en-US" sz="32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安的會員黏著度與忠誠度都高</a:t>
            </a:r>
            <a:r>
              <a:rPr lang="zh-TW" altLang="en-US" sz="32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購買力強大。</a:t>
            </a:r>
            <a:endParaRPr lang="zh-TW" altLang="en-US" sz="3200" b="1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88640"/>
            <a:ext cx="3102214" cy="1052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0023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C:\Users\Julias\Desktop\shutterstock_17343542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71400"/>
            <a:ext cx="9172625" cy="7012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 txBox="1">
            <a:spLocks/>
          </p:cNvSpPr>
          <p:nvPr/>
        </p:nvSpPr>
        <p:spPr>
          <a:xfrm>
            <a:off x="5778352" y="-171400"/>
            <a:ext cx="3364223" cy="1154112"/>
          </a:xfrm>
          <a:prstGeom prst="rect">
            <a:avLst/>
          </a:prstGeom>
        </p:spPr>
        <p:txBody>
          <a:bodyPr/>
          <a:lstStyle>
            <a:lvl1pPr algn="ctr" defTabSz="1185185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zh-TW" altLang="en-US" sz="6000" b="1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好康報</a:t>
            </a:r>
            <a:r>
              <a:rPr lang="zh-TW" altLang="en-US" sz="60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報</a:t>
            </a:r>
            <a:endParaRPr lang="en-US" altLang="zh-TW" sz="6000" b="1" dirty="0" smtClean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28384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8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84150"/>
            <a:ext cx="2157413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4" name="表格 13"/>
          <p:cNvGraphicFramePr>
            <a:graphicFrameLocks noGrp="1"/>
          </p:cNvGraphicFramePr>
          <p:nvPr/>
        </p:nvGraphicFramePr>
        <p:xfrm>
          <a:off x="468313" y="1535113"/>
          <a:ext cx="6848478" cy="4651377"/>
        </p:xfrm>
        <a:graphic>
          <a:graphicData uri="http://schemas.openxmlformats.org/drawingml/2006/table">
            <a:tbl>
              <a:tblPr/>
              <a:tblGrid>
                <a:gridCol w="1141413"/>
                <a:gridCol w="1141413"/>
                <a:gridCol w="1141413"/>
                <a:gridCol w="1141413"/>
                <a:gridCol w="1141413"/>
                <a:gridCol w="1141413"/>
              </a:tblGrid>
              <a:tr h="548095">
                <a:tc gridSpan="2"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門市</a:t>
                      </a:r>
                      <a:r>
                        <a:rPr lang="zh-TW" alt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方案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070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美安專屬優惠方案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3B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</a:tr>
              <a:tr h="560916"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方案</a:t>
                      </a:r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0702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月租費</a:t>
                      </a:r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0702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月租費</a:t>
                      </a:r>
                      <a:r>
                        <a:rPr lang="en-US" altLang="zh-TW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</a:t>
                      </a:r>
                      <a:r>
                        <a:rPr lang="zh-TW" alt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折</a:t>
                      </a:r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/>
                      </a:r>
                      <a:b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</a:br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優惠價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3BC3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en-US" altLang="zh-TW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4</a:t>
                      </a:r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個月共</a:t>
                      </a:r>
                      <a:b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</a:br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可省下月租費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3BC3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撥打</a:t>
                      </a:r>
                      <a:b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</a:br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市內電話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3BC3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可獲</a:t>
                      </a:r>
                      <a:b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</a:b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IBV</a:t>
                      </a:r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點數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3BC3"/>
                    </a:solidFill>
                  </a:tcPr>
                </a:tc>
              </a:tr>
              <a:tr h="553559">
                <a:tc rowSpan="4"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zh-TW" altLang="en-US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手機</a:t>
                      </a:r>
                      <a:r>
                        <a:rPr lang="zh-TW" alt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方案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999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899 </a:t>
                      </a:r>
                      <a:endParaRPr lang="en-US" altLang="zh-TW" sz="1400" b="1" i="0" u="none" strike="noStrike" dirty="0">
                        <a:solidFill>
                          <a:srgbClr val="FF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2,400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折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0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點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</a:tr>
              <a:tr h="516348">
                <a:tc vMerge="1"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endParaRPr lang="zh-TW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1,199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1,079 </a:t>
                      </a:r>
                      <a:endParaRPr lang="en-US" altLang="zh-TW" sz="1400" b="1" i="0" u="none" strike="noStrike" dirty="0">
                        <a:solidFill>
                          <a:srgbClr val="FF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2,880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折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0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點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</a:tr>
              <a:tr h="553559">
                <a:tc vMerge="1"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endParaRPr lang="zh-TW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1,399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1,259 </a:t>
                      </a:r>
                      <a:endParaRPr lang="en-US" altLang="zh-TW" sz="1400" b="1" i="0" u="none" strike="noStrike" dirty="0">
                        <a:solidFill>
                          <a:srgbClr val="FF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3,360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折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0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點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</a:tr>
              <a:tr h="553559">
                <a:tc vMerge="1"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endParaRPr lang="zh-TW" alt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1,799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1,619 </a:t>
                      </a:r>
                      <a:endParaRPr lang="en-US" altLang="zh-TW" sz="1400" b="1" i="0" u="none" strike="noStrike" dirty="0">
                        <a:solidFill>
                          <a:srgbClr val="FF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4,320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折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0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點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</a:tr>
              <a:tr h="258223"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2" marR="9522" marT="952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2" marR="9522" marT="952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2" marR="9522" marT="9527" marB="0" anchor="ctr">
                    <a:lnL>
                      <a:noFill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2" marR="9522" marT="9527" marB="0" anchor="ctr">
                    <a:lnL>
                      <a:noFill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553559">
                <a:tc rowSpan="2"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marL="0" algn="ctr" defTabSz="457129" rtl="0" eaLnBrk="1" fontAlgn="ctr" latinLnBrk="0" hangingPunct="1"/>
                      <a:r>
                        <a:rPr lang="zh-TW" altLang="en-US" sz="16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單門號</a:t>
                      </a:r>
                      <a:endParaRPr lang="en-US" altLang="zh-TW" sz="16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marL="0" algn="ctr" defTabSz="457129" rtl="0" eaLnBrk="1" fontAlgn="ctr" latinLnBrk="0" hangingPunct="1"/>
                      <a:r>
                        <a:rPr lang="en-US" altLang="zh-TW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$399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359 </a:t>
                      </a:r>
                      <a:endParaRPr lang="en-US" altLang="zh-TW" sz="1400" b="1" i="0" u="none" strike="noStrike" dirty="0">
                        <a:solidFill>
                          <a:srgbClr val="FF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960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折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0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點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</a:tr>
              <a:tr h="553559">
                <a:tc vMerge="1"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marL="0" algn="ctr" defTabSz="457129" rtl="0" eaLnBrk="1" fontAlgn="ctr" latinLnBrk="0" hangingPunct="1"/>
                      <a:endParaRPr lang="zh-TW" altLang="en-US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9524" marR="9524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marL="0" algn="ctr" defTabSz="457129" rtl="0" eaLnBrk="1" fontAlgn="ctr" latinLnBrk="0" hangingPunct="1"/>
                      <a:r>
                        <a:rPr lang="en-US" altLang="zh-TW" sz="14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$599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539 </a:t>
                      </a:r>
                      <a:endParaRPr lang="en-US" altLang="zh-TW" sz="1400" b="1" i="0" u="none" strike="noStrike" dirty="0">
                        <a:solidFill>
                          <a:srgbClr val="FF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$1,440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折</a:t>
                      </a:r>
                    </a:p>
                  </a:txBody>
                  <a:tcPr marL="9522" marR="9522" marT="952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>
                      <a:lvl1pPr marL="0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1pPr>
                      <a:lvl2pPr marL="457129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2pPr>
                      <a:lvl3pPr marL="914258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3pPr>
                      <a:lvl4pPr marL="1371387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4pPr>
                      <a:lvl5pPr marL="1828516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5pPr>
                      <a:lvl6pPr marL="2285645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6pPr>
                      <a:lvl7pPr marL="2742774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7pPr>
                      <a:lvl8pPr marL="3199903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8pPr>
                      <a:lvl9pPr marL="3657032" algn="l" defTabSz="457129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新細明體"/>
                        </a:defRPr>
                      </a:lvl9pPr>
                    </a:lstStyle>
                    <a:p>
                      <a:pPr algn="ctr" rtl="0" fontAlgn="ctr"/>
                      <a:r>
                        <a:rPr lang="en-US" altLang="zh-TW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0</a:t>
                      </a:r>
                      <a:r>
                        <a:rPr lang="zh-TW" altLang="en-US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點</a:t>
                      </a:r>
                    </a:p>
                  </a:txBody>
                  <a:tcPr marL="9522" marR="9522" marT="9527" marB="0" anchor="ctr">
                    <a:lnL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E9D9"/>
                    </a:solidFill>
                  </a:tcPr>
                </a:tc>
              </a:tr>
            </a:tbl>
          </a:graphicData>
        </a:graphic>
      </p:graphicFrame>
      <p:sp>
        <p:nvSpPr>
          <p:cNvPr id="15" name="標題 1"/>
          <p:cNvSpPr txBox="1">
            <a:spLocks/>
          </p:cNvSpPr>
          <p:nvPr/>
        </p:nvSpPr>
        <p:spPr bwMode="auto">
          <a:xfrm>
            <a:off x="395288" y="6302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2"/>
                </a:solidFill>
                <a:latin typeface="+mj-lt"/>
                <a:ea typeface="標楷體" pitchFamily="65" charset="-120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2"/>
                </a:solidFill>
                <a:latin typeface="Arial" charset="0"/>
                <a:ea typeface="標楷體" pitchFamily="65" charset="-120"/>
                <a:cs typeface="新細明體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2"/>
                </a:solidFill>
                <a:latin typeface="Arial" charset="0"/>
                <a:ea typeface="標楷體" pitchFamily="65" charset="-120"/>
                <a:cs typeface="新細明體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2"/>
                </a:solidFill>
                <a:latin typeface="Arial" charset="0"/>
                <a:ea typeface="標楷體" pitchFamily="65" charset="-120"/>
                <a:cs typeface="新細明體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2"/>
                </a:solidFill>
                <a:latin typeface="Arial" charset="0"/>
                <a:ea typeface="標楷體" pitchFamily="65" charset="-120"/>
                <a:cs typeface="新細明體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2"/>
                </a:solidFill>
                <a:latin typeface="Arial" charset="0"/>
                <a:ea typeface="新細明體" charset="0"/>
                <a:cs typeface="新細明體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2"/>
                </a:solidFill>
                <a:latin typeface="Arial" charset="0"/>
                <a:ea typeface="新細明體" charset="0"/>
                <a:cs typeface="新細明體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2"/>
                </a:solidFill>
                <a:latin typeface="Arial" charset="0"/>
                <a:ea typeface="新細明體" charset="0"/>
                <a:cs typeface="新細明體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2"/>
                </a:solidFill>
                <a:latin typeface="Arial" charset="0"/>
                <a:ea typeface="新細明體" charset="0"/>
                <a:cs typeface="新細明體" charset="0"/>
              </a:defRPr>
            </a:lvl9pPr>
          </a:lstStyle>
          <a:p>
            <a:pPr>
              <a:defRPr/>
            </a:pPr>
            <a:r>
              <a:rPr lang="zh-TW" altLang="en-US" b="1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美安</a:t>
            </a:r>
            <a:r>
              <a:rPr lang="zh-TW" altLang="en-US" b="1" kern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大會</a:t>
            </a:r>
            <a:r>
              <a:rPr lang="zh-TW" altLang="en-US" b="1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b="1" u="sng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新申辦</a:t>
            </a:r>
            <a:r>
              <a:rPr lang="en-US" altLang="zh-TW" b="1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b="1" u="sng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攜瑪</a:t>
            </a:r>
            <a:r>
              <a:rPr lang="en-US" altLang="zh-TW" b="1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b="1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 手機</a:t>
            </a:r>
            <a:r>
              <a:rPr lang="zh-TW" altLang="en-US" b="1" kern="0" dirty="0" smtClean="0">
                <a:solidFill>
                  <a:srgbClr val="FA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限時優惠</a:t>
            </a:r>
            <a:endParaRPr lang="zh-TW" altLang="en-US" b="1" kern="0" dirty="0">
              <a:solidFill>
                <a:srgbClr val="FA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" name="橢圓 15"/>
          <p:cNvSpPr/>
          <p:nvPr/>
        </p:nvSpPr>
        <p:spPr>
          <a:xfrm>
            <a:off x="7516813" y="2816225"/>
            <a:ext cx="1595437" cy="1511300"/>
          </a:xfrm>
          <a:prstGeom prst="ellipse">
            <a:avLst/>
          </a:prstGeom>
          <a:solidFill>
            <a:srgbClr val="FA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zh-TW" altLang="en-US" sz="1100">
              <a:solidFill>
                <a:srgbClr val="FFFFFF"/>
              </a:solidFill>
            </a:endParaRPr>
          </a:p>
        </p:txBody>
      </p:sp>
      <p:pic>
        <p:nvPicPr>
          <p:cNvPr id="5201" name="圖片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6050" y="836613"/>
            <a:ext cx="1333500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矩形 17"/>
          <p:cNvSpPr/>
          <p:nvPr/>
        </p:nvSpPr>
        <p:spPr>
          <a:xfrm>
            <a:off x="7627938" y="3024188"/>
            <a:ext cx="1373187" cy="12001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zh-TW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美安大會</a:t>
            </a:r>
            <a:endParaRPr kumimoji="1" lang="en-US" altLang="zh-TW" sz="16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zh-TW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新辦</a:t>
            </a:r>
            <a:r>
              <a:rPr kumimoji="1" lang="en-US" altLang="zh-TW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kumimoji="1" lang="zh-TW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攜碼手機方案再享禮券</a:t>
            </a:r>
            <a:r>
              <a:rPr kumimoji="1" lang="en-US" altLang="zh-TW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1,000</a:t>
            </a:r>
          </a:p>
        </p:txBody>
      </p:sp>
      <p:sp>
        <p:nvSpPr>
          <p:cNvPr id="5203" name="向下箭號 1"/>
          <p:cNvSpPr>
            <a:spLocks noChangeArrowheads="1"/>
          </p:cNvSpPr>
          <p:nvPr/>
        </p:nvSpPr>
        <p:spPr bwMode="auto">
          <a:xfrm rot="5400000">
            <a:off x="7078663" y="3228975"/>
            <a:ext cx="509588" cy="788987"/>
          </a:xfrm>
          <a:prstGeom prst="downArrow">
            <a:avLst>
              <a:gd name="adj1" fmla="val 50000"/>
              <a:gd name="adj2" fmla="val 50090"/>
            </a:avLst>
          </a:prstGeom>
          <a:solidFill>
            <a:schemeClr val="accent2"/>
          </a:solidFill>
          <a:ln w="9525" cap="rnd" algn="ctr">
            <a:solidFill>
              <a:schemeClr val="bg2"/>
            </a:solidFill>
            <a:prstDash val="sysDot"/>
            <a:round/>
            <a:headEnd/>
            <a:tailEnd/>
          </a:ln>
        </p:spPr>
        <p:txBody>
          <a:bodyPr anchor="ctr" anchorCtr="1"/>
          <a:lstStyle>
            <a:lvl1pPr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algn="ctr" eaLnBrk="1" fontAlgn="base" latinLnBrk="1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zh-TW" altLang="en-US" sz="1200" smtClean="0">
              <a:solidFill>
                <a:srgbClr val="000000"/>
              </a:solidFill>
            </a:endParaRPr>
          </a:p>
        </p:txBody>
      </p:sp>
      <p:pic>
        <p:nvPicPr>
          <p:cNvPr id="520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975" y="1588"/>
            <a:ext cx="6480175" cy="1123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41298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8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84150"/>
            <a:ext cx="2157413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標題 13"/>
          <p:cNvSpPr>
            <a:spLocks noGrp="1"/>
          </p:cNvSpPr>
          <p:nvPr>
            <p:ph type="title"/>
          </p:nvPr>
        </p:nvSpPr>
        <p:spPr>
          <a:xfrm>
            <a:off x="2339975" y="190500"/>
            <a:ext cx="5400675" cy="646113"/>
          </a:xfrm>
          <a:solidFill>
            <a:srgbClr val="FA0000"/>
          </a:solidFill>
          <a:ln w="63500" cmpd="tri">
            <a:solidFill>
              <a:srgbClr val="FFFF00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zh-TW" alt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抽獎券</a:t>
            </a:r>
            <a:endParaRPr lang="zh-TW" altLang="en-US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148" name="文字方塊 8"/>
          <p:cNvSpPr txBox="1">
            <a:spLocks noChangeArrowheads="1"/>
          </p:cNvSpPr>
          <p:nvPr/>
        </p:nvSpPr>
        <p:spPr bwMode="auto">
          <a:xfrm>
            <a:off x="5835650" y="1700213"/>
            <a:ext cx="32004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TW" altLang="en-US" sz="2400" b="1" smtClean="0">
                <a:solidFill>
                  <a:srgbClr val="FA0000"/>
                </a:solidFill>
                <a:latin typeface="微軟正黑體" pitchFamily="34" charset="-120"/>
                <a:ea typeface="微軟正黑體" pitchFamily="34" charset="-120"/>
              </a:rPr>
              <a:t>抽獎券已在信封袋囉！</a:t>
            </a:r>
            <a:endParaRPr lang="en-US" altLang="zh-TW" sz="2400" b="1" smtClean="0">
              <a:solidFill>
                <a:srgbClr val="FA0000"/>
              </a:solidFill>
              <a:latin typeface="微軟正黑體" pitchFamily="34" charset="-120"/>
              <a:ea typeface="微軟正黑體" pitchFamily="34" charset="-12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TW" altLang="en-US" sz="2400" b="1" smtClean="0">
                <a:solidFill>
                  <a:srgbClr val="FA0000"/>
                </a:solidFill>
                <a:latin typeface="微軟正黑體" pitchFamily="34" charset="-120"/>
                <a:ea typeface="微軟正黑體" pitchFamily="34" charset="-120"/>
              </a:rPr>
              <a:t>快填寫送至遠傳攤位</a:t>
            </a:r>
            <a:endParaRPr lang="en-US" altLang="zh-TW" sz="2400" b="1" smtClean="0">
              <a:solidFill>
                <a:srgbClr val="FA0000"/>
              </a:solidFill>
              <a:latin typeface="微軟正黑體" pitchFamily="34" charset="-120"/>
              <a:ea typeface="微軟正黑體" pitchFamily="34" charset="-12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zh-TW" altLang="en-US" sz="2400" b="1" smtClean="0">
              <a:solidFill>
                <a:srgbClr val="7030A0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pic>
        <p:nvPicPr>
          <p:cNvPr id="6149" name="圖片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625" y="2419350"/>
            <a:ext cx="2603500" cy="325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橢圓 11"/>
          <p:cNvSpPr/>
          <p:nvPr/>
        </p:nvSpPr>
        <p:spPr>
          <a:xfrm>
            <a:off x="4275138" y="1196975"/>
            <a:ext cx="1376362" cy="1368425"/>
          </a:xfrm>
          <a:prstGeom prst="ellipse">
            <a:avLst/>
          </a:prstGeom>
          <a:solidFill>
            <a:srgbClr val="FA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zh-TW" altLang="en-US" sz="1100">
              <a:solidFill>
                <a:srgbClr val="FFFFFF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4122738" y="1619250"/>
            <a:ext cx="1673225" cy="5857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kumimoji="1" lang="zh-TW" altLang="en-U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抽獎送</a:t>
            </a:r>
            <a:endParaRPr kumimoji="1" lang="en-US" altLang="zh-TW" sz="32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152" name="文字方塊 13"/>
          <p:cNvSpPr txBox="1">
            <a:spLocks noChangeArrowheads="1"/>
          </p:cNvSpPr>
          <p:nvPr/>
        </p:nvSpPr>
        <p:spPr bwMode="auto">
          <a:xfrm>
            <a:off x="4391025" y="5732463"/>
            <a:ext cx="2125663" cy="40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TW" sz="2000" b="1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iPhone7</a:t>
            </a:r>
            <a:r>
              <a:rPr lang="zh-TW" altLang="en-US" sz="2000" b="1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en-US" altLang="zh-TW" sz="2000" b="1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128G</a:t>
            </a:r>
            <a:endParaRPr lang="zh-TW" altLang="en-US" sz="2000" b="1" smtClean="0">
              <a:solidFill>
                <a:srgbClr val="C00000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pic>
        <p:nvPicPr>
          <p:cNvPr id="6153" name="圖片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650" y="188913"/>
            <a:ext cx="1365250" cy="129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文字方塊 13"/>
          <p:cNvSpPr txBox="1">
            <a:spLocks noChangeArrowheads="1"/>
          </p:cNvSpPr>
          <p:nvPr/>
        </p:nvSpPr>
        <p:spPr bwMode="auto">
          <a:xfrm>
            <a:off x="6804025" y="5732463"/>
            <a:ext cx="20462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en-US" altLang="zh-TW" sz="18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9.7 </a:t>
            </a:r>
            <a:r>
              <a:rPr lang="zh-TW" altLang="en-US" sz="18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吋 </a:t>
            </a:r>
            <a:r>
              <a:rPr lang="en-US" altLang="zh-TW" sz="1800" b="1" dirty="0">
                <a:solidFill>
                  <a:srgbClr val="00206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Pad 32G</a:t>
            </a:r>
            <a:endParaRPr lang="zh-TW" altLang="en-US" sz="1800" b="1" dirty="0" smtClean="0">
              <a:solidFill>
                <a:srgbClr val="000000">
                  <a:lumMod val="75000"/>
                  <a:lumOff val="25000"/>
                </a:srgbClr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pic>
        <p:nvPicPr>
          <p:cNvPr id="6155" name="圖片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63" y="1268413"/>
            <a:ext cx="3121025" cy="45085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圖片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5113" y="2852738"/>
            <a:ext cx="2278062" cy="26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6316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9"/>
          <p:cNvSpPr/>
          <p:nvPr/>
        </p:nvSpPr>
        <p:spPr>
          <a:xfrm>
            <a:off x="0" y="5340"/>
            <a:ext cx="9144000" cy="1600392"/>
          </a:xfrm>
          <a:prstGeom prst="rect">
            <a:avLst/>
          </a:prstGeom>
        </p:spPr>
        <p:txBody>
          <a:bodyPr wrap="square" lIns="91395" tIns="45697" rIns="91395" bIns="45697">
            <a:spAutoFit/>
          </a:bodyPr>
          <a:lstStyle/>
          <a:p>
            <a:pPr algn="ctr" defTabSz="1196829">
              <a:defRPr/>
            </a:pPr>
            <a:r>
              <a:rPr lang="zh-TW" altLang="en-US" sz="5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網購金額支出比例逐年上漲</a:t>
            </a:r>
            <a:endParaRPr lang="en-US" altLang="zh-TW" sz="5400" b="1" cap="all" dirty="0">
              <a:solidFill>
                <a:srgbClr val="F2F2F2"/>
              </a:solidFill>
              <a:latin typeface="Raleway" panose="020B0503030101060003" pitchFamily="34" charset="0"/>
              <a:ea typeface="微軟正黑體" panose="020B0604030504040204" pitchFamily="34" charset="-120"/>
            </a:endParaRPr>
          </a:p>
          <a:p>
            <a:pPr algn="ctr" defTabSz="1196829">
              <a:defRPr/>
            </a:pPr>
            <a:endParaRPr lang="zh-TW" altLang="en-US" sz="4400" b="1" cap="all" dirty="0">
              <a:solidFill>
                <a:srgbClr val="F2F2F2"/>
              </a:solidFill>
              <a:latin typeface="Raleway" panose="020B0503030101060003" pitchFamily="34" charset="0"/>
              <a:ea typeface="微軟正黑體" panose="020B0604030504040204" pitchFamily="34" charset="-120"/>
            </a:endParaRPr>
          </a:p>
        </p:txBody>
      </p:sp>
      <p:sp>
        <p:nvSpPr>
          <p:cNvPr id="6" name="Rectangle 9"/>
          <p:cNvSpPr/>
          <p:nvPr/>
        </p:nvSpPr>
        <p:spPr>
          <a:xfrm>
            <a:off x="5251323" y="5824539"/>
            <a:ext cx="3454701" cy="307730"/>
          </a:xfrm>
          <a:prstGeom prst="rect">
            <a:avLst/>
          </a:prstGeom>
        </p:spPr>
        <p:txBody>
          <a:bodyPr wrap="none" lIns="91395" tIns="45697" rIns="91395" bIns="45697">
            <a:spAutoFit/>
          </a:bodyPr>
          <a:lstStyle/>
          <a:p>
            <a:pPr algn="ctr" defTabSz="1196829">
              <a:defRPr/>
            </a:pPr>
            <a:r>
              <a:rPr lang="zh-TW" altLang="en-US" sz="1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料來源</a:t>
            </a:r>
            <a:r>
              <a:rPr lang="en-US" altLang="zh-TW" sz="1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:</a:t>
            </a:r>
            <a:r>
              <a:rPr lang="zh-TW" altLang="en-US" sz="1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策會產業情報研究所（</a:t>
            </a:r>
            <a:r>
              <a:rPr lang="en-US" altLang="zh-TW" sz="1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MIC</a:t>
            </a:r>
            <a:r>
              <a:rPr lang="zh-TW" altLang="en-US" sz="1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）</a:t>
            </a:r>
            <a:endParaRPr lang="en-US" altLang="zh-TW" sz="1400" b="1" cap="all" dirty="0">
              <a:solidFill>
                <a:srgbClr val="F2F2F2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3" name="群組 2"/>
          <p:cNvGrpSpPr/>
          <p:nvPr/>
        </p:nvGrpSpPr>
        <p:grpSpPr>
          <a:xfrm>
            <a:off x="2143344" y="1054768"/>
            <a:ext cx="5246911" cy="3238328"/>
            <a:chOff x="2022676" y="3823705"/>
            <a:chExt cx="5246911" cy="3238328"/>
          </a:xfrm>
        </p:grpSpPr>
        <p:pic>
          <p:nvPicPr>
            <p:cNvPr id="5" name="Picture 8" descr="C:\Users\Julias\AppData\Local\Microsoft\Windows\Temporary Internet Files\Content.IE5\FU1JUQGN\cloud-304979_640[1]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22676" y="3823705"/>
              <a:ext cx="5246911" cy="32383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矩形 1"/>
            <p:cNvSpPr/>
            <p:nvPr/>
          </p:nvSpPr>
          <p:spPr>
            <a:xfrm>
              <a:off x="2363118" y="4397737"/>
              <a:ext cx="4572000" cy="144655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1196829">
                <a:tabLst>
                  <a:tab pos="7774517" algn="l"/>
                </a:tabLst>
                <a:defRPr/>
              </a:pPr>
              <a:r>
                <a:rPr lang="zh-TW" altLang="en-US" sz="4400" b="1" cap="all" dirty="0">
                  <a:solidFill>
                    <a:srgbClr val="D6248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線下到線上</a:t>
              </a:r>
              <a:endParaRPr lang="en-US" altLang="zh-TW" sz="4400" b="1" cap="all" dirty="0">
                <a:solidFill>
                  <a:srgbClr val="D6248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algn="ctr" defTabSz="1196829">
                <a:tabLst>
                  <a:tab pos="7774517" algn="l"/>
                </a:tabLst>
                <a:defRPr/>
              </a:pPr>
              <a:r>
                <a:rPr lang="zh-TW" altLang="en-US" sz="4400" b="1" cap="all" dirty="0">
                  <a:solidFill>
                    <a:srgbClr val="D6248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消費移轉已成形</a:t>
              </a:r>
              <a:endParaRPr lang="en-US" altLang="zh-TW" sz="4400" b="1" cap="all" spc="-300" dirty="0">
                <a:solidFill>
                  <a:srgbClr val="D6248E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Open Sans" panose="020B0606030504020204" pitchFamily="34" charset="0"/>
              </a:endParaRPr>
            </a:p>
          </p:txBody>
        </p:sp>
      </p:grpSp>
      <p:sp>
        <p:nvSpPr>
          <p:cNvPr id="7" name="Rectangle 9"/>
          <p:cNvSpPr/>
          <p:nvPr/>
        </p:nvSpPr>
        <p:spPr>
          <a:xfrm>
            <a:off x="-1764704" y="4156672"/>
            <a:ext cx="9144000" cy="2800720"/>
          </a:xfrm>
          <a:prstGeom prst="rect">
            <a:avLst/>
          </a:prstGeom>
        </p:spPr>
        <p:txBody>
          <a:bodyPr lIns="91395" tIns="45697" rIns="91395" bIns="45697">
            <a:spAutoFit/>
          </a:bodyPr>
          <a:lstStyle/>
          <a:p>
            <a:pPr algn="ctr" defTabSz="1196829">
              <a:defRPr/>
            </a:pPr>
            <a:r>
              <a:rPr lang="en-US" altLang="zh-TW" sz="4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2014</a:t>
            </a:r>
            <a:r>
              <a:rPr lang="zh-TW" altLang="en-US" sz="4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年 占</a:t>
            </a:r>
            <a:r>
              <a:rPr lang="en-US" altLang="zh-TW" sz="4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12.3</a:t>
            </a:r>
            <a:r>
              <a:rPr lang="zh-TW" altLang="en-US" sz="4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％</a:t>
            </a:r>
            <a:endParaRPr lang="en-US" altLang="zh-TW" sz="4400" b="1" cap="all" dirty="0">
              <a:solidFill>
                <a:srgbClr val="F2F2F2"/>
              </a:solidFill>
              <a:latin typeface="Raleway" panose="020B0503030101060003" pitchFamily="34" charset="0"/>
              <a:ea typeface="微軟正黑體" panose="020B0604030504040204" pitchFamily="34" charset="-120"/>
            </a:endParaRPr>
          </a:p>
          <a:p>
            <a:pPr algn="ctr" defTabSz="1196829">
              <a:defRPr/>
            </a:pPr>
            <a:r>
              <a:rPr lang="en-US" altLang="zh-TW" sz="4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2015</a:t>
            </a:r>
            <a:r>
              <a:rPr lang="zh-TW" altLang="en-US" sz="4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年 占</a:t>
            </a:r>
            <a:r>
              <a:rPr lang="en-US" altLang="zh-TW" sz="4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15.4</a:t>
            </a:r>
            <a:r>
              <a:rPr lang="zh-TW" altLang="en-US" sz="4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％</a:t>
            </a:r>
            <a:endParaRPr lang="en-US" altLang="zh-TW" sz="4400" b="1" cap="all" dirty="0">
              <a:solidFill>
                <a:srgbClr val="F2F2F2"/>
              </a:solidFill>
              <a:latin typeface="Raleway" panose="020B0503030101060003" pitchFamily="34" charset="0"/>
              <a:ea typeface="微軟正黑體" panose="020B0604030504040204" pitchFamily="34" charset="-120"/>
            </a:endParaRPr>
          </a:p>
          <a:p>
            <a:pPr algn="ctr" defTabSz="1196829">
              <a:defRPr/>
            </a:pPr>
            <a:r>
              <a:rPr lang="en-US" altLang="zh-TW" sz="4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2016</a:t>
            </a:r>
            <a:r>
              <a:rPr lang="zh-TW" altLang="en-US" sz="4400" b="1" cap="all" dirty="0">
                <a:solidFill>
                  <a:srgbClr val="F2F2F2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年 到</a:t>
            </a:r>
            <a:r>
              <a:rPr lang="en-US" altLang="zh-TW" sz="4400" b="1" cap="all" dirty="0">
                <a:solidFill>
                  <a:srgbClr val="FFFF00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17.8</a:t>
            </a:r>
            <a:r>
              <a:rPr lang="zh-TW" altLang="en-US" sz="4400" b="1" cap="all" dirty="0">
                <a:solidFill>
                  <a:srgbClr val="FFFF00"/>
                </a:solidFill>
                <a:latin typeface="Raleway" panose="020B0503030101060003" pitchFamily="34" charset="0"/>
                <a:ea typeface="微軟正黑體" panose="020B0604030504040204" pitchFamily="34" charset="-120"/>
              </a:rPr>
              <a:t>％</a:t>
            </a:r>
            <a:endParaRPr lang="en-US" altLang="zh-TW" sz="4400" b="1" cap="all" dirty="0">
              <a:solidFill>
                <a:srgbClr val="FFFF00"/>
              </a:solidFill>
              <a:latin typeface="Raleway" panose="020B0503030101060003" pitchFamily="34" charset="0"/>
              <a:ea typeface="微軟正黑體" panose="020B0604030504040204" pitchFamily="34" charset="-120"/>
            </a:endParaRPr>
          </a:p>
          <a:p>
            <a:pPr algn="ctr" defTabSz="1196829">
              <a:defRPr/>
            </a:pPr>
            <a:endParaRPr lang="zh-TW" altLang="en-US" sz="4400" b="1" cap="all" dirty="0">
              <a:solidFill>
                <a:srgbClr val="F2F2F2"/>
              </a:solidFill>
              <a:latin typeface="Raleway" panose="020B0503030101060003" pitchFamily="34" charset="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0804388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6" grpId="0"/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物件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14041603"/>
              </p:ext>
            </p:extLst>
          </p:nvPr>
        </p:nvGraphicFramePr>
        <p:xfrm>
          <a:off x="0" y="0"/>
          <a:ext cx="9252520" cy="6938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5" name="Presentation" r:id="rId3" imgW="4570532" imgH="3427618" progId="PowerPoint.Show.8">
                  <p:embed/>
                </p:oleObj>
              </mc:Choice>
              <mc:Fallback>
                <p:oleObj name="Presentation" r:id="rId3" imgW="4570532" imgH="3427618" progId="PowerPoint.Show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9252520" cy="6938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76444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物件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53300361"/>
              </p:ext>
            </p:extLst>
          </p:nvPr>
        </p:nvGraphicFramePr>
        <p:xfrm>
          <a:off x="-252537" y="0"/>
          <a:ext cx="9396537" cy="6857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8" name="Presentation" r:id="rId3" imgW="4570532" imgH="3427618" progId="PowerPoint.Show.8">
                  <p:embed/>
                </p:oleObj>
              </mc:Choice>
              <mc:Fallback>
                <p:oleObj name="Presentation" r:id="rId3" imgW="4570532" imgH="3427618" progId="PowerPoint.Show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252537" y="0"/>
                        <a:ext cx="9396537" cy="68579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98486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字方塊 4"/>
          <p:cNvSpPr txBox="1"/>
          <p:nvPr/>
        </p:nvSpPr>
        <p:spPr>
          <a:xfrm>
            <a:off x="167798" y="5689411"/>
            <a:ext cx="36841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20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主打商品</a:t>
            </a:r>
            <a:r>
              <a:rPr lang="en-US" altLang="zh-TW" sz="20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.</a:t>
            </a:r>
            <a:r>
              <a:rPr lang="zh-TW" altLang="en-US" sz="20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運動系列踝襪</a:t>
            </a:r>
            <a:endParaRPr lang="en-US" altLang="zh-TW" sz="2000" b="1" dirty="0" smtClean="0">
              <a:solidFill>
                <a:srgbClr val="C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sz="2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跑步健身</a:t>
            </a:r>
            <a:endParaRPr lang="en-US" altLang="zh-TW" sz="2000" b="1" dirty="0" smtClean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2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1</a:t>
            </a:r>
            <a:r>
              <a:rPr lang="zh-TW" altLang="en-US" sz="2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天全新生活必備款！</a:t>
            </a:r>
            <a:endParaRPr lang="en-US" altLang="zh-TW" sz="2000" b="1" dirty="0" smtClean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687" y="1086750"/>
            <a:ext cx="3468098" cy="4602661"/>
          </a:xfrm>
          <a:prstGeom prst="rect">
            <a:avLst/>
          </a:prstGeom>
        </p:spPr>
      </p:pic>
      <p:sp>
        <p:nvSpPr>
          <p:cNvPr id="9" name="文字方塊 8"/>
          <p:cNvSpPr txBox="1"/>
          <p:nvPr/>
        </p:nvSpPr>
        <p:spPr>
          <a:xfrm>
            <a:off x="4182740" y="1074794"/>
            <a:ext cx="46702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24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主打商品</a:t>
            </a:r>
            <a:r>
              <a:rPr lang="en-US" altLang="zh-TW" sz="24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.</a:t>
            </a:r>
            <a:r>
              <a:rPr lang="zh-TW" altLang="en-US" sz="2400" b="1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運動透氣短襪</a:t>
            </a:r>
            <a:endParaRPr lang="en-US" altLang="zh-TW" sz="2400" b="1" dirty="0" smtClean="0">
              <a:solidFill>
                <a:srgbClr val="C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2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運動上班休閒皆可穿</a:t>
            </a:r>
            <a:endParaRPr lang="en-US" altLang="zh-TW" sz="2000" b="1" dirty="0" smtClean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zh-TW" altLang="en-US" sz="20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透氣有型不悶不濕熱</a:t>
            </a:r>
            <a:endParaRPr lang="en-US" altLang="zh-TW" sz="2000" b="1" dirty="0" smtClean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0" name="群組 9"/>
          <p:cNvGrpSpPr/>
          <p:nvPr/>
        </p:nvGrpSpPr>
        <p:grpSpPr>
          <a:xfrm>
            <a:off x="1187624" y="17424"/>
            <a:ext cx="7016750" cy="903015"/>
            <a:chOff x="147538" y="178431"/>
            <a:chExt cx="5936630" cy="714375"/>
          </a:xfrm>
        </p:grpSpPr>
        <p:sp>
          <p:nvSpPr>
            <p:cNvPr id="7" name="文字方塊 6"/>
            <p:cNvSpPr txBox="1"/>
            <p:nvPr/>
          </p:nvSpPr>
          <p:spPr>
            <a:xfrm>
              <a:off x="4213597" y="293859"/>
              <a:ext cx="187057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2400" b="1" dirty="0" smtClean="0">
                  <a:solidFill>
                    <a:prstClr val="black">
                      <a:lumMod val="95000"/>
                      <a:lumOff val="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科技機能襪</a:t>
              </a:r>
              <a:endParaRPr lang="en-US" altLang="zh-TW" sz="2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11" name="圖片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51794" y="178431"/>
              <a:ext cx="1857375" cy="714375"/>
            </a:xfrm>
            <a:prstGeom prst="rect">
              <a:avLst/>
            </a:prstGeom>
          </p:spPr>
        </p:pic>
        <p:pic>
          <p:nvPicPr>
            <p:cNvPr id="12" name="圖片 1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538" y="283438"/>
              <a:ext cx="2065784" cy="471925"/>
            </a:xfrm>
            <a:prstGeom prst="rect">
              <a:avLst/>
            </a:prstGeom>
          </p:spPr>
        </p:pic>
        <p:sp>
          <p:nvSpPr>
            <p:cNvPr id="13" name="矩形 12"/>
            <p:cNvSpPr/>
            <p:nvPr/>
          </p:nvSpPr>
          <p:spPr>
            <a:xfrm>
              <a:off x="2213322" y="283438"/>
              <a:ext cx="32092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TW" sz="2000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x</a:t>
              </a:r>
              <a:endParaRPr lang="zh-TW" altLang="en-US" sz="2000" dirty="0">
                <a:solidFill>
                  <a:prstClr val="black">
                    <a:lumMod val="95000"/>
                    <a:lumOff val="5000"/>
                  </a:prstClr>
                </a:solidFill>
              </a:endParaRPr>
            </a:p>
          </p:txBody>
        </p:sp>
      </p:grpSp>
      <p:pic>
        <p:nvPicPr>
          <p:cNvPr id="15" name="圖片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5" y="2132856"/>
            <a:ext cx="4497039" cy="2997294"/>
          </a:xfrm>
          <a:prstGeom prst="rect">
            <a:avLst/>
          </a:prstGeom>
        </p:spPr>
      </p:pic>
      <p:sp>
        <p:nvSpPr>
          <p:cNvPr id="16" name="文字方塊 15"/>
          <p:cNvSpPr txBox="1"/>
          <p:nvPr/>
        </p:nvSpPr>
        <p:spPr>
          <a:xfrm>
            <a:off x="4980929" y="5373216"/>
            <a:ext cx="3073896" cy="1323439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sz="3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現金</a:t>
            </a:r>
            <a:r>
              <a:rPr lang="zh-TW" altLang="en-US" sz="32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回饋</a:t>
            </a:r>
            <a:r>
              <a:rPr lang="en-US" altLang="zh-TW" sz="4000" b="1" dirty="0">
                <a:solidFill>
                  <a:srgbClr val="0033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</a:t>
            </a:r>
            <a:r>
              <a:rPr lang="zh-TW" altLang="en-US" sz="3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％   </a:t>
            </a:r>
            <a:endParaRPr lang="en-US" altLang="zh-TW" sz="3200" b="1" dirty="0" smtClean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/>
            <a:r>
              <a:rPr lang="en-US" altLang="zh-TW" sz="3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IBV</a:t>
            </a:r>
            <a:r>
              <a:rPr lang="en-US" altLang="zh-TW" sz="4000" b="1" dirty="0" smtClean="0">
                <a:solidFill>
                  <a:srgbClr val="0033CC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0</a:t>
            </a:r>
            <a:r>
              <a:rPr lang="zh-TW" altLang="en-US" sz="32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％</a:t>
            </a:r>
            <a:endParaRPr lang="zh-TW" altLang="en-US" sz="3200" b="1" dirty="0">
              <a:solidFill>
                <a:prstClr val="black">
                  <a:lumMod val="75000"/>
                  <a:lumOff val="25000"/>
                </a:prst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644222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8112072"/>
              </p:ext>
            </p:extLst>
          </p:nvPr>
        </p:nvGraphicFramePr>
        <p:xfrm>
          <a:off x="0" y="0"/>
          <a:ext cx="9331374" cy="69977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9" name="Presentation" r:id="rId3" imgW="2128993" imgH="1596983" progId="PowerPoint.Show.12">
                  <p:embed/>
                </p:oleObj>
              </mc:Choice>
              <mc:Fallback>
                <p:oleObj name="Presentation" r:id="rId3" imgW="2128993" imgH="1596983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9331374" cy="69977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2270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圖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606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物件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40887833"/>
              </p:ext>
            </p:extLst>
          </p:nvPr>
        </p:nvGraphicFramePr>
        <p:xfrm>
          <a:off x="0" y="-10840"/>
          <a:ext cx="9159516" cy="68688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3" name="Presentation" r:id="rId3" imgW="2756972" imgH="2066451" progId="PowerPoint.Show.8">
                  <p:embed/>
                </p:oleObj>
              </mc:Choice>
              <mc:Fallback>
                <p:oleObj name="Presentation" r:id="rId3" imgW="2756972" imgH="2066451" progId="PowerPoint.Show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-10840"/>
                        <a:ext cx="9159516" cy="68688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79692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群組 1"/>
          <p:cNvGrpSpPr/>
          <p:nvPr/>
        </p:nvGrpSpPr>
        <p:grpSpPr>
          <a:xfrm>
            <a:off x="0" y="0"/>
            <a:ext cx="9150368" cy="2492896"/>
            <a:chOff x="0" y="0"/>
            <a:chExt cx="9150368" cy="2204864"/>
          </a:xfrm>
        </p:grpSpPr>
        <p:sp>
          <p:nvSpPr>
            <p:cNvPr id="3" name="矩形 2"/>
            <p:cNvSpPr/>
            <p:nvPr/>
          </p:nvSpPr>
          <p:spPr>
            <a:xfrm>
              <a:off x="0" y="0"/>
              <a:ext cx="9144000" cy="2204864"/>
            </a:xfrm>
            <a:prstGeom prst="rect">
              <a:avLst/>
            </a:prstGeom>
            <a:gradFill flip="none" rotWithShape="1">
              <a:gsLst>
                <a:gs pos="0">
                  <a:srgbClr val="FF0000">
                    <a:shade val="30000"/>
                    <a:satMod val="115000"/>
                  </a:srgbClr>
                </a:gs>
                <a:gs pos="50000">
                  <a:srgbClr val="FF0000">
                    <a:shade val="67500"/>
                    <a:satMod val="115000"/>
                  </a:srgbClr>
                </a:gs>
                <a:gs pos="100000">
                  <a:srgbClr val="FF0000">
                    <a:shade val="100000"/>
                    <a:satMod val="115000"/>
                  </a:srgbClr>
                </a:gs>
              </a:gsLst>
              <a:lin ang="5400000" scaled="1"/>
              <a:tileRect/>
            </a:gradFill>
            <a:ln>
              <a:noFill/>
            </a:ln>
            <a:effectLst>
              <a:outerShdw dist="38100" sx="1000" sy="1000" rotWithShape="0">
                <a:prstClr val="black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>
                <a:solidFill>
                  <a:prstClr val="white"/>
                </a:solidFill>
              </a:endParaRPr>
            </a:p>
          </p:txBody>
        </p:sp>
        <p:sp>
          <p:nvSpPr>
            <p:cNvPr id="4" name="文字方塊 3"/>
            <p:cNvSpPr txBox="1">
              <a:spLocks noChangeArrowheads="1"/>
            </p:cNvSpPr>
            <p:nvPr/>
          </p:nvSpPr>
          <p:spPr bwMode="auto">
            <a:xfrm>
              <a:off x="2052314" y="104204"/>
              <a:ext cx="6408118" cy="7205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320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280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40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00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00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000">
                  <a:solidFill>
                    <a:schemeClr val="tx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defRPr>
              </a:lvl9pPr>
            </a:lstStyle>
            <a:p>
              <a:pPr algn="ctr" eaLnBrk="1" hangingPunct="1">
                <a:lnSpc>
                  <a:spcPct val="130000"/>
                </a:lnSpc>
                <a:spcBef>
                  <a:spcPct val="0"/>
                </a:spcBef>
                <a:buFontTx/>
                <a:buNone/>
              </a:pPr>
              <a:r>
                <a:rPr kumimoji="0" lang="zh-TW" altLang="en-US" sz="3500" b="1" dirty="0">
                  <a:solidFill>
                    <a:prstClr val="white"/>
                  </a:solidFill>
                </a:rPr>
                <a:t>美安會員獨享 </a:t>
              </a:r>
              <a:r>
                <a:rPr kumimoji="0" lang="zh-TW" altLang="en-US" sz="3500" b="1" dirty="0" smtClean="0">
                  <a:solidFill>
                    <a:prstClr val="white"/>
                  </a:solidFill>
                </a:rPr>
                <a:t>超值</a:t>
              </a:r>
              <a:r>
                <a:rPr kumimoji="0" lang="zh-TW" altLang="en-US" sz="3500" b="1" dirty="0">
                  <a:solidFill>
                    <a:prstClr val="white"/>
                  </a:solidFill>
                </a:rPr>
                <a:t>訂閱優惠</a:t>
              </a:r>
              <a:endParaRPr kumimoji="0" lang="en-US" altLang="zh-TW" sz="3500" b="1" dirty="0">
                <a:solidFill>
                  <a:prstClr val="white"/>
                </a:solidFill>
              </a:endParaRPr>
            </a:p>
          </p:txBody>
        </p:sp>
        <p:sp>
          <p:nvSpPr>
            <p:cNvPr id="5" name="橢圓 4"/>
            <p:cNvSpPr/>
            <p:nvPr/>
          </p:nvSpPr>
          <p:spPr>
            <a:xfrm>
              <a:off x="6368" y="1484586"/>
              <a:ext cx="9144000" cy="576262"/>
            </a:xfrm>
            <a:prstGeom prst="round2DiagRect">
              <a:avLst>
                <a:gd name="adj1" fmla="val 0"/>
                <a:gd name="adj2" fmla="val 1512"/>
              </a:avLst>
            </a:prstGeom>
            <a:noFill/>
            <a:ln w="1905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620" tIns="7620" rIns="7620" bIns="7620" spcCol="1270" anchor="ctr"/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zh-TW" altLang="en-US" sz="4000" b="1" spc="6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再享回饋好禮</a:t>
              </a:r>
              <a:r>
                <a:rPr lang="zh-TW" altLang="en-US" sz="4000" b="1" spc="600" dirty="0">
                  <a:solidFill>
                    <a:srgbClr val="FFFF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三重送</a:t>
              </a:r>
              <a:endParaRPr lang="en-US" sz="4000" b="1" spc="600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6" name="文字方塊 9"/>
            <p:cNvSpPr txBox="1">
              <a:spLocks noChangeArrowheads="1"/>
            </p:cNvSpPr>
            <p:nvPr/>
          </p:nvSpPr>
          <p:spPr bwMode="auto">
            <a:xfrm>
              <a:off x="730558" y="908720"/>
              <a:ext cx="7657866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TW" sz="3000" dirty="0">
                  <a:solidFill>
                    <a:srgbClr val="FFFF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sym typeface="Wingdings 2" panose="05020102010507070707" pitchFamily="18" charset="2"/>
                </a:rPr>
                <a:t></a:t>
              </a:r>
              <a:r>
                <a:rPr lang="zh-TW" altLang="en-US" sz="2500" dirty="0">
                  <a:solidFill>
                    <a:srgbClr val="FFFF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紙本</a:t>
              </a:r>
              <a:r>
                <a:rPr lang="zh-TW" altLang="en-US" sz="25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半年</a:t>
              </a:r>
              <a:r>
                <a:rPr lang="en-US" altLang="zh-TW" sz="25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6</a:t>
              </a:r>
              <a:r>
                <a:rPr lang="zh-TW" altLang="en-US" sz="25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期</a:t>
              </a:r>
              <a:r>
                <a:rPr lang="en-US" altLang="zh-TW" sz="2500" dirty="0">
                  <a:solidFill>
                    <a:srgbClr val="FFFF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,950</a:t>
              </a:r>
              <a:r>
                <a:rPr lang="zh-TW" altLang="en-US" sz="25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元  </a:t>
              </a:r>
              <a:r>
                <a:rPr lang="zh-TW" altLang="en-US" sz="2000" b="1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或</a:t>
              </a:r>
              <a:r>
                <a:rPr lang="zh-TW" altLang="en-US" sz="2500" dirty="0">
                  <a:solidFill>
                    <a:prstClr val="black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r>
                <a:rPr lang="en-US" altLang="zh-TW" sz="3000" dirty="0">
                  <a:solidFill>
                    <a:srgbClr val="FFFF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  <a:sym typeface="Wingdings 2" panose="05020102010507070707" pitchFamily="18" charset="2"/>
                </a:rPr>
                <a:t></a:t>
              </a:r>
              <a:r>
                <a:rPr lang="zh-TW" altLang="en-US" sz="2500" dirty="0">
                  <a:solidFill>
                    <a:srgbClr val="FFFF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子</a:t>
              </a:r>
              <a:r>
                <a:rPr lang="zh-TW" altLang="en-US" sz="25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一年</a:t>
              </a:r>
              <a:r>
                <a:rPr lang="en-US" altLang="zh-TW" sz="25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52</a:t>
              </a:r>
              <a:r>
                <a:rPr lang="zh-TW" altLang="en-US" sz="25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期</a:t>
              </a:r>
              <a:r>
                <a:rPr lang="en-US" altLang="zh-TW" sz="2500" dirty="0">
                  <a:solidFill>
                    <a:srgbClr val="FFFF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2,950</a:t>
              </a:r>
              <a:r>
                <a:rPr lang="zh-TW" altLang="en-US" sz="25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元</a:t>
              </a:r>
              <a:endParaRPr lang="en-US" altLang="zh-TW" sz="2500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7" name="圖片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8236" y="117384"/>
              <a:ext cx="1511808" cy="719328"/>
            </a:xfrm>
            <a:prstGeom prst="rect">
              <a:avLst/>
            </a:prstGeom>
          </p:spPr>
        </p:pic>
      </p:grpSp>
      <p:grpSp>
        <p:nvGrpSpPr>
          <p:cNvPr id="16" name="群組 15"/>
          <p:cNvGrpSpPr/>
          <p:nvPr/>
        </p:nvGrpSpPr>
        <p:grpSpPr>
          <a:xfrm>
            <a:off x="28137" y="2708920"/>
            <a:ext cx="9224383" cy="3620496"/>
            <a:chOff x="28137" y="2708920"/>
            <a:chExt cx="9224383" cy="3620496"/>
          </a:xfrm>
        </p:grpSpPr>
        <p:pic>
          <p:nvPicPr>
            <p:cNvPr id="8" name="圖片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33" t="29086" r="2157"/>
            <a:stretch/>
          </p:blipFill>
          <p:spPr>
            <a:xfrm>
              <a:off x="28137" y="2708920"/>
              <a:ext cx="9102135" cy="2869833"/>
            </a:xfrm>
            <a:prstGeom prst="rect">
              <a:avLst/>
            </a:prstGeom>
          </p:spPr>
        </p:pic>
        <p:sp>
          <p:nvSpPr>
            <p:cNvPr id="14" name="矩形 13"/>
            <p:cNvSpPr/>
            <p:nvPr/>
          </p:nvSpPr>
          <p:spPr>
            <a:xfrm>
              <a:off x="3419872" y="5032833"/>
              <a:ext cx="5544616" cy="12764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>
                <a:solidFill>
                  <a:prstClr val="white"/>
                </a:solidFill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3974168" y="4961264"/>
              <a:ext cx="5278352" cy="13681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TW" sz="2500" b="1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JR‧</a:t>
              </a:r>
              <a:r>
                <a:rPr lang="zh-TW" altLang="en-US" sz="2500" b="1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萊丁格</a:t>
              </a:r>
              <a:r>
                <a:rPr lang="en-US" altLang="zh-TW" sz="2500" b="1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(JR </a:t>
              </a:r>
              <a:r>
                <a:rPr lang="en-US" altLang="zh-TW" sz="2500" b="1" dirty="0" err="1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Ridinger</a:t>
              </a:r>
              <a:r>
                <a:rPr lang="en-US" altLang="zh-TW" sz="2500" b="1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)</a:t>
              </a:r>
            </a:p>
            <a:p>
              <a:r>
                <a:rPr lang="zh-TW" altLang="en-US" sz="2000" b="1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美安公司</a:t>
              </a:r>
              <a:r>
                <a:rPr lang="en-US" altLang="zh-TW" sz="2000" b="1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|SHOP.COM</a:t>
              </a:r>
              <a:r>
                <a:rPr lang="zh-TW" altLang="en-US" sz="2000" b="1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主席暨首席執行長</a:t>
              </a:r>
            </a:p>
            <a:p>
              <a:pPr>
                <a:spcBef>
                  <a:spcPts val="600"/>
                </a:spcBef>
              </a:pPr>
              <a:r>
                <a:rPr lang="zh-TW" altLang="en-US" sz="2200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專訪即將於</a:t>
              </a:r>
              <a:r>
                <a:rPr lang="en-US" altLang="zh-TW" sz="2200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《</a:t>
              </a:r>
              <a:r>
                <a:rPr lang="zh-TW" altLang="en-US" sz="2200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商業周刊</a:t>
              </a:r>
              <a:r>
                <a:rPr lang="en-US" altLang="zh-TW" sz="2200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》1540</a:t>
              </a:r>
              <a:r>
                <a:rPr lang="zh-TW" altLang="en-US" sz="2200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期刊出</a:t>
              </a:r>
            </a:p>
          </p:txBody>
        </p:sp>
        <p:sp>
          <p:nvSpPr>
            <p:cNvPr id="15" name="矩形 14"/>
            <p:cNvSpPr/>
            <p:nvPr/>
          </p:nvSpPr>
          <p:spPr>
            <a:xfrm>
              <a:off x="3389042" y="5127048"/>
              <a:ext cx="589156" cy="6120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zh-TW" altLang="en-US" dirty="0" smtClean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精采</a:t>
              </a:r>
              <a:endParaRPr lang="en-US" altLang="zh-TW" dirty="0" smtClean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algn="ctr"/>
              <a:r>
                <a:rPr lang="zh-TW" altLang="en-US" dirty="0" smtClean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預告</a:t>
              </a:r>
              <a:endParaRPr lang="zh-TW" altLang="en-US" dirty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587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標題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endParaRPr lang="zh-TW" altLang="en-US" smtClean="0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endParaRPr lang="zh-TW" altLang="en-US" dirty="0" smtClean="0"/>
          </a:p>
        </p:txBody>
      </p:sp>
      <p:pic>
        <p:nvPicPr>
          <p:cNvPr id="2052" name="Picture 5" descr="D:\閔慈\平台相關\愛美\活動\1200x50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0606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0" name="Picture 4" descr="厚切鮭魚-04313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908050"/>
            <a:ext cx="9144000" cy="5949950"/>
          </a:xfrm>
          <a:prstGeom prst="rect">
            <a:avLst/>
          </a:prstGeom>
          <a:noFill/>
        </p:spPr>
      </p:pic>
      <p:pic>
        <p:nvPicPr>
          <p:cNvPr id="14341" name="圖片 1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4460875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平行四邊形 15"/>
          <p:cNvSpPr/>
          <p:nvPr/>
        </p:nvSpPr>
        <p:spPr>
          <a:xfrm>
            <a:off x="4500563" y="115888"/>
            <a:ext cx="3960812" cy="649287"/>
          </a:xfrm>
          <a:prstGeom prst="parallelogram">
            <a:avLst>
              <a:gd name="adj" fmla="val 0"/>
            </a:avLst>
          </a:prstGeom>
          <a:solidFill>
            <a:srgbClr val="FF0000"/>
          </a:solidFill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TW" altLang="en-US" sz="24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  <a:cs typeface="華康明體 Std W12"/>
              </a:rPr>
              <a:t>現金回饋</a:t>
            </a:r>
            <a:r>
              <a:rPr lang="en-US" altLang="zh-TW" sz="24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  <a:cs typeface="華康明體 Std W12"/>
              </a:rPr>
              <a:t>10%</a:t>
            </a:r>
            <a:r>
              <a:rPr lang="zh-TW" altLang="en-US" sz="24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  <a:cs typeface="華康明體 Std W12"/>
              </a:rPr>
              <a:t> </a:t>
            </a:r>
            <a:r>
              <a:rPr lang="en-US" altLang="zh-TW" sz="24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  <a:cs typeface="華康明體 Std W12"/>
              </a:rPr>
              <a:t>IBV10%</a:t>
            </a:r>
            <a:endParaRPr lang="zh-TW" altLang="en-US" sz="2400" b="1">
              <a:solidFill>
                <a:prstClr val="white"/>
              </a:solidFill>
              <a:latin typeface="微軟正黑體" pitchFamily="34" charset="-120"/>
              <a:ea typeface="微軟正黑體" pitchFamily="34" charset="-120"/>
              <a:cs typeface="華康明體 Std W1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4067175" y="1268413"/>
            <a:ext cx="4643438" cy="70167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TW" altLang="en-US" sz="4000" b="1">
                <a:solidFill>
                  <a:prstClr val="white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軟正黑體" pitchFamily="34" charset="-120"/>
                <a:ea typeface="微軟正黑體" pitchFamily="34" charset="-120"/>
              </a:rPr>
              <a:t>美安年會</a:t>
            </a:r>
            <a:r>
              <a:rPr lang="en-US" altLang="zh-TW" sz="4000" b="1">
                <a:solidFill>
                  <a:prstClr val="white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軟正黑體" pitchFamily="34" charset="-120"/>
                <a:ea typeface="微軟正黑體" pitchFamily="34" charset="-120"/>
              </a:rPr>
              <a:t> </a:t>
            </a:r>
            <a:r>
              <a:rPr lang="zh-TW" altLang="en-US" sz="4000" b="1">
                <a:solidFill>
                  <a:prstClr val="white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微軟正黑體" pitchFamily="34" charset="-120"/>
                <a:ea typeface="微軟正黑體" pitchFamily="34" charset="-120"/>
              </a:rPr>
              <a:t>獨家優惠</a:t>
            </a:r>
          </a:p>
        </p:txBody>
      </p:sp>
      <p:sp>
        <p:nvSpPr>
          <p:cNvPr id="14344" name="矩形 10"/>
          <p:cNvSpPr>
            <a:spLocks noChangeArrowheads="1"/>
          </p:cNvSpPr>
          <p:nvPr/>
        </p:nvSpPr>
        <p:spPr bwMode="auto">
          <a:xfrm>
            <a:off x="4643438" y="2133600"/>
            <a:ext cx="3816350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TW" altLang="en-US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低</a:t>
            </a:r>
            <a:r>
              <a:rPr lang="en-US" altLang="zh-TW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GI</a:t>
            </a:r>
            <a:r>
              <a:rPr lang="zh-TW" altLang="en-US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蛋白質專區</a:t>
            </a:r>
          </a:p>
        </p:txBody>
      </p:sp>
      <p:sp>
        <p:nvSpPr>
          <p:cNvPr id="14345" name="矩形 13"/>
          <p:cNvSpPr>
            <a:spLocks noChangeArrowheads="1"/>
          </p:cNvSpPr>
          <p:nvPr/>
        </p:nvSpPr>
        <p:spPr bwMode="auto">
          <a:xfrm>
            <a:off x="5219700" y="2781300"/>
            <a:ext cx="2701925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TW" altLang="en-US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同品項買</a:t>
            </a:r>
            <a:r>
              <a:rPr lang="en-US" altLang="zh-TW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3</a:t>
            </a:r>
            <a:r>
              <a:rPr lang="zh-TW" altLang="en-US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送</a:t>
            </a:r>
            <a:r>
              <a:rPr lang="en-US" altLang="zh-TW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1</a:t>
            </a:r>
          </a:p>
        </p:txBody>
      </p:sp>
      <p:sp>
        <p:nvSpPr>
          <p:cNvPr id="14349" name="矩形 12"/>
          <p:cNvSpPr>
            <a:spLocks noChangeArrowheads="1"/>
          </p:cNvSpPr>
          <p:nvPr/>
        </p:nvSpPr>
        <p:spPr bwMode="auto">
          <a:xfrm>
            <a:off x="5508625" y="4149725"/>
            <a:ext cx="1809750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TW" altLang="en-US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其他品項</a:t>
            </a:r>
          </a:p>
        </p:txBody>
      </p:sp>
      <p:sp>
        <p:nvSpPr>
          <p:cNvPr id="14350" name="文字方塊 16"/>
          <p:cNvSpPr txBox="1">
            <a:spLocks noChangeArrowheads="1"/>
          </p:cNvSpPr>
          <p:nvPr/>
        </p:nvSpPr>
        <p:spPr bwMode="auto">
          <a:xfrm>
            <a:off x="5364163" y="4797425"/>
            <a:ext cx="2808287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TW" altLang="en-US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同品項買</a:t>
            </a:r>
            <a:r>
              <a:rPr lang="en-US" altLang="zh-TW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4</a:t>
            </a:r>
            <a:r>
              <a:rPr lang="zh-TW" altLang="en-US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送</a:t>
            </a:r>
            <a:r>
              <a:rPr lang="en-US" altLang="zh-TW" sz="3200" b="1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1</a:t>
            </a:r>
            <a:endParaRPr lang="zh-TW" altLang="en-US" sz="3200" b="1">
              <a:solidFill>
                <a:prstClr val="white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5003800" y="6257270"/>
            <a:ext cx="39565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TW" altLang="en-US" sz="2800" b="1" dirty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即日起</a:t>
            </a:r>
            <a:r>
              <a:rPr lang="en-US" altLang="zh-TW" sz="2800" b="1" dirty="0" smtClean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~ </a:t>
            </a:r>
            <a:r>
              <a:rPr lang="en-US" altLang="zh-TW" sz="2800" b="1" dirty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5/2 24:00</a:t>
            </a:r>
            <a:r>
              <a:rPr lang="zh-TW" altLang="en-US" sz="2800" b="1" dirty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截止</a:t>
            </a:r>
          </a:p>
        </p:txBody>
      </p:sp>
    </p:spTree>
    <p:extLst>
      <p:ext uri="{BB962C8B-B14F-4D97-AF65-F5344CB8AC3E}">
        <p14:creationId xmlns:p14="http://schemas.microsoft.com/office/powerpoint/2010/main" val="1636790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3" name="Picture 1" descr="ReSarah-美安大會簡報-04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" name="矩形 2"/>
          <p:cNvSpPr/>
          <p:nvPr/>
        </p:nvSpPr>
        <p:spPr>
          <a:xfrm>
            <a:off x="317858" y="562768"/>
            <a:ext cx="3426050" cy="76944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>
            <a:spAutoFit/>
          </a:bodyPr>
          <a:lstStyle/>
          <a:p>
            <a:pPr defTabSz="888215">
              <a:defRPr/>
            </a:pPr>
            <a:r>
              <a:rPr lang="zh-TW" altLang="en-US" sz="4400" b="1" spc="-3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實體</a:t>
            </a:r>
            <a:r>
              <a:rPr lang="zh-TW" altLang="en-US" sz="4400" b="1" spc="-3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夥伴</a:t>
            </a:r>
            <a:r>
              <a:rPr lang="zh-TW" altLang="en-US" sz="4400" b="1" spc="-3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店</a:t>
            </a:r>
            <a:endParaRPr lang="en-US" altLang="zh-TW" sz="4400" b="1" spc="-300" dirty="0" smtClean="0">
              <a:solidFill>
                <a:schemeClr val="accent4">
                  <a:lumMod val="20000"/>
                  <a:lumOff val="8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14018048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C:\Users\Julias\AppData\Local\Microsoft\Windows\Temporary Internet Files\Content.IE5\FU1JUQGN\cloud-304979_640[1]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49" y="1594785"/>
            <a:ext cx="5246911" cy="3238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10"/>
          <p:cNvSpPr/>
          <p:nvPr/>
        </p:nvSpPr>
        <p:spPr>
          <a:xfrm>
            <a:off x="578998" y="476672"/>
            <a:ext cx="7802046" cy="923283"/>
          </a:xfrm>
          <a:prstGeom prst="rect">
            <a:avLst/>
          </a:prstGeom>
        </p:spPr>
        <p:txBody>
          <a:bodyPr wrap="none" lIns="91395" tIns="45697" rIns="91395" bIns="45697">
            <a:spAutoFit/>
          </a:bodyPr>
          <a:lstStyle/>
          <a:p>
            <a:pPr algn="ctr" defTabSz="1196829">
              <a:defRPr/>
            </a:pPr>
            <a:r>
              <a:rPr lang="zh-TW" altLang="en-US" sz="5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美安網路招</a:t>
            </a:r>
            <a:r>
              <a:rPr lang="zh-TW" altLang="en-US" sz="5400" b="1" cap="all" dirty="0" smtClean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會</a:t>
            </a:r>
            <a:r>
              <a:rPr lang="zh-TW" altLang="en-US" sz="5400" b="1" cap="all" dirty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每月</a:t>
            </a:r>
            <a:r>
              <a:rPr lang="zh-TW" altLang="en-US" sz="5400" b="1" cap="all" dirty="0" smtClean="0">
                <a:solidFill>
                  <a:srgbClr val="F2F2F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報名</a:t>
            </a:r>
            <a:endParaRPr lang="en-US" altLang="zh-TW" sz="3600" b="1" cap="all" dirty="0">
              <a:solidFill>
                <a:srgbClr val="F2F2F2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5076848" y="4314929"/>
            <a:ext cx="3978883" cy="2123612"/>
          </a:xfrm>
          <a:prstGeom prst="rect">
            <a:avLst/>
          </a:prstGeom>
        </p:spPr>
        <p:txBody>
          <a:bodyPr wrap="none" lIns="91395" tIns="45697" rIns="91395" bIns="45697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6600" b="1" cap="all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席次一</a:t>
            </a:r>
            <a:r>
              <a:rPr lang="zh-TW" altLang="en-US" sz="6600" b="1" cap="all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空</a:t>
            </a:r>
            <a:r>
              <a:rPr lang="en-US" altLang="zh-TW" sz="6600" b="1" cap="all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!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6600" b="1" cap="all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Why</a:t>
            </a:r>
            <a:r>
              <a:rPr kumimoji="1" lang="zh-TW" altLang="en-US" sz="6600" b="1" cap="all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？</a:t>
            </a:r>
            <a:endParaRPr kumimoji="1" lang="zh-TW" altLang="en-US" sz="6600" b="1" dirty="0">
              <a:solidFill>
                <a:srgbClr val="FFFF00"/>
              </a:solidFill>
              <a:latin typeface="Centaur" pitchFamily="18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605966" y="2493991"/>
            <a:ext cx="4070345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196829">
              <a:defRPr/>
            </a:pPr>
            <a:r>
              <a:rPr lang="zh-TW" altLang="en-US" sz="6600" b="1" cap="all" dirty="0">
                <a:solidFill>
                  <a:srgbClr val="D6248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只</a:t>
            </a:r>
            <a:r>
              <a:rPr lang="zh-TW" altLang="en-US" sz="6600" b="1" cap="all" dirty="0" smtClean="0">
                <a:solidFill>
                  <a:srgbClr val="D6248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花</a:t>
            </a:r>
            <a:r>
              <a:rPr lang="en-US" altLang="zh-TW" sz="6600" b="1" cap="all" dirty="0" smtClean="0">
                <a:solidFill>
                  <a:srgbClr val="D6248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lang="zh-TW" altLang="en-US" sz="6600" b="1" cap="all" dirty="0" smtClean="0">
                <a:solidFill>
                  <a:srgbClr val="D6248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鐘</a:t>
            </a:r>
            <a:endParaRPr lang="en-US" altLang="zh-TW" sz="6600" b="1" cap="all" dirty="0">
              <a:solidFill>
                <a:srgbClr val="D6248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9085437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0" y="250577"/>
            <a:ext cx="9144000" cy="6597352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5" name="圓角矩形 4"/>
          <p:cNvSpPr/>
          <p:nvPr/>
        </p:nvSpPr>
        <p:spPr>
          <a:xfrm>
            <a:off x="467544" y="260648"/>
            <a:ext cx="8208912" cy="640871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8" name="矩形 7"/>
          <p:cNvSpPr/>
          <p:nvPr/>
        </p:nvSpPr>
        <p:spPr>
          <a:xfrm>
            <a:off x="2411760" y="2564904"/>
            <a:ext cx="4288353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zh-TW" altLang="en-US" sz="4000" b="1" cap="all" dirty="0">
                <a:ln w="9000" cmpd="sng">
                  <a:solidFill>
                    <a:srgbClr val="8064A2">
                      <a:shade val="50000"/>
                      <a:satMod val="120000"/>
                    </a:srgbClr>
                  </a:solidFill>
                  <a:prstDash val="solid"/>
                </a:ln>
                <a:gradFill>
                  <a:gsLst>
                    <a:gs pos="0">
                      <a:srgbClr val="8064A2">
                        <a:shade val="20000"/>
                        <a:satMod val="245000"/>
                      </a:srgbClr>
                    </a:gs>
                    <a:gs pos="43000">
                      <a:srgbClr val="8064A2">
                        <a:satMod val="255000"/>
                      </a:srgbClr>
                    </a:gs>
                    <a:gs pos="48000">
                      <a:srgbClr val="8064A2">
                        <a:shade val="85000"/>
                        <a:satMod val="255000"/>
                      </a:srgbClr>
                    </a:gs>
                    <a:gs pos="100000">
                      <a:srgbClr val="8064A2">
                        <a:shade val="20000"/>
                        <a:satMod val="245000"/>
                      </a:srgb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美安家族專屬套餐</a:t>
            </a:r>
          </a:p>
        </p:txBody>
      </p:sp>
      <p:sp>
        <p:nvSpPr>
          <p:cNvPr id="11" name="矩形 10"/>
          <p:cNvSpPr/>
          <p:nvPr/>
        </p:nvSpPr>
        <p:spPr>
          <a:xfrm>
            <a:off x="6754647" y="3717032"/>
            <a:ext cx="1921809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zh-TW" altLang="en-US" sz="3200" b="1" spc="50" dirty="0">
                <a:ln w="11430"/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另外再享</a:t>
            </a:r>
            <a:endParaRPr lang="zh-TW" altLang="en-US" sz="3200" b="1" spc="50" dirty="0">
              <a:ln w="11430"/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785355" y="5373216"/>
            <a:ext cx="1921809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altLang="zh-TW" sz="3200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IBV 5%</a:t>
            </a:r>
            <a:endParaRPr lang="zh-TW" altLang="en-US" sz="3200" b="1" spc="50" dirty="0">
              <a:ln w="11430"/>
              <a:solidFill>
                <a:srgbClr val="FF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6785354" y="4293096"/>
            <a:ext cx="1921809" cy="107721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zh-TW" altLang="en-US" sz="3200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現金回饋</a:t>
            </a:r>
            <a:r>
              <a:rPr lang="en-US" altLang="zh-TW" sz="3200" b="1" spc="50" dirty="0">
                <a:ln w="11430"/>
                <a:solidFill>
                  <a:srgbClr val="FF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5%</a:t>
            </a:r>
            <a:endParaRPr lang="zh-TW" altLang="en-US" sz="3200" b="1" spc="50" dirty="0">
              <a:ln w="11430"/>
              <a:solidFill>
                <a:srgbClr val="FF00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2" name="文字方塊 11"/>
          <p:cNvSpPr txBox="1"/>
          <p:nvPr/>
        </p:nvSpPr>
        <p:spPr>
          <a:xfrm>
            <a:off x="6772199" y="2670574"/>
            <a:ext cx="18867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0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  優惠</a:t>
            </a:r>
            <a:r>
              <a:rPr lang="zh-TW" altLang="en-US" sz="20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日期      </a:t>
            </a:r>
            <a:endParaRPr lang="en-US" altLang="zh-TW" sz="2000" b="1" dirty="0" smtClean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2000" b="1" dirty="0" smtClean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即日</a:t>
            </a:r>
            <a:r>
              <a:rPr lang="zh-TW" altLang="en-US" sz="20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起</a:t>
            </a:r>
            <a:r>
              <a:rPr lang="en-US" altLang="zh-TW" sz="20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~6</a:t>
            </a:r>
            <a:r>
              <a:rPr lang="zh-TW" altLang="en-US" sz="20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月底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3378460"/>
            <a:ext cx="2638425" cy="257953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3908" y="3378460"/>
            <a:ext cx="3010739" cy="317182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D:\SUNNY\活動DM\美安形象图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2564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矩形 12"/>
          <p:cNvSpPr/>
          <p:nvPr/>
        </p:nvSpPr>
        <p:spPr>
          <a:xfrm>
            <a:off x="317858" y="562768"/>
            <a:ext cx="3426050" cy="76944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>
            <a:spAutoFit/>
          </a:bodyPr>
          <a:lstStyle/>
          <a:p>
            <a:pPr defTabSz="888215">
              <a:defRPr/>
            </a:pPr>
            <a:r>
              <a:rPr lang="zh-TW" altLang="en-US" sz="4400" b="1" spc="-3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實體</a:t>
            </a:r>
            <a:r>
              <a:rPr lang="zh-TW" altLang="en-US" sz="4400" b="1" spc="-3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夥伴</a:t>
            </a:r>
            <a:r>
              <a:rPr lang="zh-TW" altLang="en-US" sz="4400" b="1" spc="-3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店</a:t>
            </a:r>
            <a:endParaRPr lang="en-US" altLang="zh-TW" sz="4400" b="1" spc="-300" dirty="0" smtClean="0">
              <a:solidFill>
                <a:schemeClr val="accent4">
                  <a:lumMod val="20000"/>
                  <a:lumOff val="8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3315" name="Picture 3" descr="C:\Users\Julias\AppData\Local\Microsoft\Windows\Temporary Internet Files\Content.IE5\02BD9QY3\15666-illustration-of-a-cartoon-speech-bubble-pv[1]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5088" y="5373216"/>
            <a:ext cx="1970767" cy="187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矩形 3"/>
          <p:cNvSpPr/>
          <p:nvPr/>
        </p:nvSpPr>
        <p:spPr>
          <a:xfrm rot="21254242">
            <a:off x="2753442" y="5814799"/>
            <a:ext cx="128112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TW" altLang="en-US" sz="2800" b="1" spc="50" dirty="0" smtClean="0">
                <a:ln w="11430"/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刷卡價</a:t>
            </a:r>
            <a:endParaRPr lang="zh-TW" altLang="en-US" sz="2800" b="1" spc="50" dirty="0">
              <a:ln w="11430"/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06268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 descr="美安年會ppt插卡-修改-01.jpg"/>
          <p:cNvPicPr>
            <a:picLocks noGrp="1" noChangeAspect="1"/>
          </p:cNvPicPr>
          <p:nvPr isPhoto="1"/>
        </p:nvPicPr>
        <p:blipFill>
          <a:blip r:embed="rId2" cstate="print">
            <a:lum/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矩形 2"/>
          <p:cNvSpPr/>
          <p:nvPr/>
        </p:nvSpPr>
        <p:spPr>
          <a:xfrm>
            <a:off x="323528" y="3068960"/>
            <a:ext cx="3426050" cy="76944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>
            <a:spAutoFit/>
          </a:bodyPr>
          <a:lstStyle/>
          <a:p>
            <a:pPr defTabSz="888215">
              <a:defRPr/>
            </a:pPr>
            <a:r>
              <a:rPr lang="zh-TW" altLang="en-US" sz="4400" b="1" spc="-3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實體</a:t>
            </a:r>
            <a:r>
              <a:rPr lang="zh-TW" altLang="en-US" sz="4400" b="1" spc="-3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夥伴</a:t>
            </a:r>
            <a:r>
              <a:rPr lang="zh-TW" altLang="en-US" sz="4400" b="1" spc="-300" dirty="0" smtClean="0">
                <a:solidFill>
                  <a:schemeClr val="accent4">
                    <a:lumMod val="20000"/>
                    <a:lumOff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店</a:t>
            </a:r>
            <a:endParaRPr lang="en-US" altLang="zh-TW" sz="4400" b="1" spc="-300" dirty="0" smtClean="0">
              <a:solidFill>
                <a:schemeClr val="accent4">
                  <a:lumMod val="20000"/>
                  <a:lumOff val="8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522885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 descr="C:\Users\Julias\Desktop\shutterstock_34476795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201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 txBox="1">
            <a:spLocks/>
          </p:cNvSpPr>
          <p:nvPr/>
        </p:nvSpPr>
        <p:spPr>
          <a:xfrm>
            <a:off x="-40606" y="4509120"/>
            <a:ext cx="9172625" cy="1154112"/>
          </a:xfrm>
          <a:prstGeom prst="rect">
            <a:avLst/>
          </a:prstGeom>
        </p:spPr>
        <p:txBody>
          <a:bodyPr/>
          <a:lstStyle>
            <a:lvl1pPr algn="ctr" defTabSz="1185185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zh-TW" altLang="en-US" sz="6000" b="1" dirty="0" smtClean="0">
                <a:solidFill>
                  <a:srgbClr val="7030A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重點嘉賓分享</a:t>
            </a:r>
            <a:endParaRPr lang="en-US" altLang="zh-TW" sz="6000" b="1" dirty="0" smtClean="0">
              <a:solidFill>
                <a:srgbClr val="7030A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105400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"/>
          <p:cNvSpPr>
            <a:spLocks noChangeArrowheads="1"/>
          </p:cNvSpPr>
          <p:nvPr/>
        </p:nvSpPr>
        <p:spPr bwMode="auto">
          <a:xfrm>
            <a:off x="1952625" y="355123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ts val="300"/>
              </a:spcBef>
              <a:buClr>
                <a:srgbClr val="5BD078"/>
              </a:buClr>
              <a:buFont typeface="Georgia" pitchFamily="18" charset="0"/>
              <a:buChar char="•"/>
              <a:defRPr sz="2800">
                <a:solidFill>
                  <a:schemeClr val="tx1"/>
                </a:solidFill>
                <a:latin typeface="Georgia" pitchFamily="18" charset="0"/>
                <a:ea typeface="新細明體" charset="-120"/>
              </a:defRPr>
            </a:lvl1pPr>
            <a:lvl2pPr marL="742950" indent="-285750" eaLnBrk="0" hangingPunct="0">
              <a:spcBef>
                <a:spcPts val="300"/>
              </a:spcBef>
              <a:buClr>
                <a:schemeClr val="accent2"/>
              </a:buClr>
              <a:buFont typeface="Georgia" pitchFamily="18" charset="0"/>
              <a:buChar char="▫"/>
              <a:defRPr sz="2600">
                <a:solidFill>
                  <a:schemeClr val="accent2"/>
                </a:solidFill>
                <a:latin typeface="Georgia" pitchFamily="18" charset="0"/>
                <a:ea typeface="新細明體" charset="-120"/>
              </a:defRPr>
            </a:lvl2pPr>
            <a:lvl3pPr marL="1143000" indent="-228600" eaLnBrk="0" hangingPunct="0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Char char=""/>
              <a:defRPr sz="2400">
                <a:solidFill>
                  <a:schemeClr val="accent1"/>
                </a:solidFill>
                <a:latin typeface="Georgia" pitchFamily="18" charset="0"/>
                <a:ea typeface="新細明體" charset="-120"/>
              </a:defRPr>
            </a:lvl3pPr>
            <a:lvl4pPr marL="1600200" indent="-228600" eaLnBrk="0" hangingPunct="0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Char char=""/>
              <a:defRPr sz="2200">
                <a:solidFill>
                  <a:schemeClr val="accent1"/>
                </a:solidFill>
                <a:latin typeface="Georgia" pitchFamily="18" charset="0"/>
                <a:ea typeface="新細明體" charset="-120"/>
              </a:defRPr>
            </a:lvl4pPr>
            <a:lvl5pPr marL="2057400" indent="-228600" eaLnBrk="0" hangingPunct="0">
              <a:spcBef>
                <a:spcPts val="300"/>
              </a:spcBef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kumimoji="1" lang="zh-TW" altLang="zh-TW" sz="1800" smtClean="0">
                <a:solidFill>
                  <a:prstClr val="black"/>
                </a:solidFill>
                <a:latin typeface="Arial" charset="0"/>
              </a:rPr>
              <a:t/>
            </a:r>
            <a:br>
              <a:rPr kumimoji="1" lang="zh-TW" altLang="zh-TW" sz="1800" smtClean="0">
                <a:solidFill>
                  <a:prstClr val="black"/>
                </a:solidFill>
                <a:latin typeface="Arial" charset="0"/>
              </a:rPr>
            </a:br>
            <a:endParaRPr kumimoji="1" lang="zh-TW" altLang="zh-TW" sz="1800" smtClean="0">
              <a:solidFill>
                <a:prstClr val="black"/>
              </a:solidFill>
              <a:latin typeface="Arial" charset="0"/>
            </a:endParaRPr>
          </a:p>
        </p:txBody>
      </p:sp>
      <p:pic>
        <p:nvPicPr>
          <p:cNvPr id="5123" name="圖片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688" y="1928813"/>
            <a:ext cx="55626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文字方塊 19"/>
          <p:cNvSpPr txBox="1"/>
          <p:nvPr/>
        </p:nvSpPr>
        <p:spPr>
          <a:xfrm>
            <a:off x="1619250" y="4581525"/>
            <a:ext cx="5905500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zh-TW" altLang="en-US" sz="2800" b="1" dirty="0">
                <a:solidFill>
                  <a:prstClr val="white">
                    <a:lumMod val="50000"/>
                  </a:prst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阿瘦集團：郭欣怡總經理</a:t>
            </a:r>
          </a:p>
        </p:txBody>
      </p:sp>
      <p:sp>
        <p:nvSpPr>
          <p:cNvPr id="5125" name="矩形 8"/>
          <p:cNvSpPr>
            <a:spLocks noChangeArrowheads="1"/>
          </p:cNvSpPr>
          <p:nvPr/>
        </p:nvSpPr>
        <p:spPr bwMode="auto">
          <a:xfrm>
            <a:off x="2752725" y="2938463"/>
            <a:ext cx="3648075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300"/>
              </a:spcBef>
              <a:buClr>
                <a:srgbClr val="5BD078"/>
              </a:buClr>
              <a:buFont typeface="Georgia" pitchFamily="18" charset="0"/>
              <a:buChar char="•"/>
              <a:defRPr sz="2800">
                <a:solidFill>
                  <a:schemeClr val="tx1"/>
                </a:solidFill>
                <a:latin typeface="Georgia" pitchFamily="18" charset="0"/>
                <a:ea typeface="新細明體" charset="-120"/>
              </a:defRPr>
            </a:lvl1pPr>
            <a:lvl2pPr marL="742950" indent="-285750" eaLnBrk="0" hangingPunct="0">
              <a:spcBef>
                <a:spcPts val="300"/>
              </a:spcBef>
              <a:buClr>
                <a:schemeClr val="accent2"/>
              </a:buClr>
              <a:buFont typeface="Georgia" pitchFamily="18" charset="0"/>
              <a:buChar char="▫"/>
              <a:defRPr sz="2600">
                <a:solidFill>
                  <a:schemeClr val="accent2"/>
                </a:solidFill>
                <a:latin typeface="Georgia" pitchFamily="18" charset="0"/>
                <a:ea typeface="新細明體" charset="-120"/>
              </a:defRPr>
            </a:lvl2pPr>
            <a:lvl3pPr marL="1143000" indent="-228600" eaLnBrk="0" hangingPunct="0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Char char=""/>
              <a:defRPr sz="2400">
                <a:solidFill>
                  <a:schemeClr val="accent1"/>
                </a:solidFill>
                <a:latin typeface="Georgia" pitchFamily="18" charset="0"/>
                <a:ea typeface="新細明體" charset="-120"/>
              </a:defRPr>
            </a:lvl3pPr>
            <a:lvl4pPr marL="1600200" indent="-228600" eaLnBrk="0" hangingPunct="0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Char char=""/>
              <a:defRPr sz="2200">
                <a:solidFill>
                  <a:schemeClr val="accent1"/>
                </a:solidFill>
                <a:latin typeface="Georgia" pitchFamily="18" charset="0"/>
                <a:ea typeface="新細明體" charset="-120"/>
              </a:defRPr>
            </a:lvl4pPr>
            <a:lvl5pPr marL="2057400" indent="-228600" eaLnBrk="0" hangingPunct="0">
              <a:spcBef>
                <a:spcPts val="300"/>
              </a:spcBef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zh-TW" altLang="en-US" sz="54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科技機能襪</a:t>
            </a:r>
          </a:p>
        </p:txBody>
      </p:sp>
      <p:pic>
        <p:nvPicPr>
          <p:cNvPr id="512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75" y="6092825"/>
            <a:ext cx="1355725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7" name="圖片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463" y="6115050"/>
            <a:ext cx="1550987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681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圖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0925" y="3271838"/>
            <a:ext cx="1701800" cy="134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等腰三角形 5"/>
          <p:cNvSpPr/>
          <p:nvPr/>
        </p:nvSpPr>
        <p:spPr>
          <a:xfrm>
            <a:off x="2195513" y="1917700"/>
            <a:ext cx="4608512" cy="3455988"/>
          </a:xfrm>
          <a:prstGeom prst="triangle">
            <a:avLst/>
          </a:pr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>
              <a:solidFill>
                <a:prstClr val="white"/>
              </a:solidFill>
            </a:endParaRPr>
          </a:p>
        </p:txBody>
      </p:sp>
      <p:pic>
        <p:nvPicPr>
          <p:cNvPr id="6148" name="Picture 7" descr="T:\行銷\行銷簡報\GuideBook\三大功能-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113" y="765175"/>
            <a:ext cx="2919412" cy="252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9" name="Picture 8" descr="T:\行銷\行銷簡報\GuideBook\三大功能-3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2425" y="3933825"/>
            <a:ext cx="2811463" cy="237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0" name="Picture 9" descr="T:\行銷\行銷簡報\GuideBook\三大功能-2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3933825"/>
            <a:ext cx="2771775" cy="2379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1" name="Picture 2" descr="T:\行銷\設計\00_品牌素材\comphy+\獨創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425" y="2020888"/>
            <a:ext cx="2735263" cy="1192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2" name="矩形 7"/>
          <p:cNvSpPr>
            <a:spLocks noChangeArrowheads="1"/>
          </p:cNvSpPr>
          <p:nvPr/>
        </p:nvSpPr>
        <p:spPr bwMode="auto">
          <a:xfrm>
            <a:off x="3563938" y="4465638"/>
            <a:ext cx="18129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300"/>
              </a:spcBef>
              <a:buClr>
                <a:srgbClr val="5BD078"/>
              </a:buClr>
              <a:buFont typeface="Georgia" pitchFamily="18" charset="0"/>
              <a:buChar char="•"/>
              <a:defRPr sz="2800">
                <a:solidFill>
                  <a:schemeClr val="tx1"/>
                </a:solidFill>
                <a:latin typeface="Georgia" pitchFamily="18" charset="0"/>
                <a:ea typeface="新細明體" charset="-120"/>
              </a:defRPr>
            </a:lvl1pPr>
            <a:lvl2pPr marL="742950" indent="-285750" eaLnBrk="0" hangingPunct="0">
              <a:spcBef>
                <a:spcPts val="300"/>
              </a:spcBef>
              <a:buClr>
                <a:schemeClr val="accent2"/>
              </a:buClr>
              <a:buFont typeface="Georgia" pitchFamily="18" charset="0"/>
              <a:buChar char="▫"/>
              <a:defRPr sz="2600">
                <a:solidFill>
                  <a:schemeClr val="accent2"/>
                </a:solidFill>
                <a:latin typeface="Georgia" pitchFamily="18" charset="0"/>
                <a:ea typeface="新細明體" charset="-120"/>
              </a:defRPr>
            </a:lvl2pPr>
            <a:lvl3pPr marL="1143000" indent="-228600" eaLnBrk="0" hangingPunct="0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Char char=""/>
              <a:defRPr sz="2400">
                <a:solidFill>
                  <a:schemeClr val="accent1"/>
                </a:solidFill>
                <a:latin typeface="Georgia" pitchFamily="18" charset="0"/>
                <a:ea typeface="新細明體" charset="-120"/>
              </a:defRPr>
            </a:lvl3pPr>
            <a:lvl4pPr marL="1600200" indent="-228600" eaLnBrk="0" hangingPunct="0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Char char=""/>
              <a:defRPr sz="2200">
                <a:solidFill>
                  <a:schemeClr val="accent1"/>
                </a:solidFill>
                <a:latin typeface="Georgia" pitchFamily="18" charset="0"/>
                <a:ea typeface="新細明體" charset="-120"/>
              </a:defRPr>
            </a:lvl4pPr>
            <a:lvl5pPr marL="2057400" indent="-228600" eaLnBrk="0" hangingPunct="0">
              <a:spcBef>
                <a:spcPts val="300"/>
              </a:spcBef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zh-TW" altLang="en-US" sz="24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科技機能襪</a:t>
            </a:r>
          </a:p>
        </p:txBody>
      </p:sp>
      <p:sp>
        <p:nvSpPr>
          <p:cNvPr id="6153" name="矩形 8"/>
          <p:cNvSpPr>
            <a:spLocks noChangeArrowheads="1"/>
          </p:cNvSpPr>
          <p:nvPr/>
        </p:nvSpPr>
        <p:spPr bwMode="auto">
          <a:xfrm>
            <a:off x="6011863" y="1444625"/>
            <a:ext cx="2646362" cy="460375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300"/>
              </a:spcBef>
              <a:buClr>
                <a:srgbClr val="5BD078"/>
              </a:buClr>
              <a:buFont typeface="Georgia" pitchFamily="18" charset="0"/>
              <a:buChar char="•"/>
              <a:defRPr sz="2800">
                <a:solidFill>
                  <a:schemeClr val="tx1"/>
                </a:solidFill>
                <a:latin typeface="Georgia" pitchFamily="18" charset="0"/>
                <a:ea typeface="新細明體" charset="-120"/>
              </a:defRPr>
            </a:lvl1pPr>
            <a:lvl2pPr marL="742950" indent="-285750" eaLnBrk="0" hangingPunct="0">
              <a:spcBef>
                <a:spcPts val="300"/>
              </a:spcBef>
              <a:buClr>
                <a:schemeClr val="accent2"/>
              </a:buClr>
              <a:buFont typeface="Georgia" pitchFamily="18" charset="0"/>
              <a:buChar char="▫"/>
              <a:defRPr sz="2600">
                <a:solidFill>
                  <a:schemeClr val="accent2"/>
                </a:solidFill>
                <a:latin typeface="Georgia" pitchFamily="18" charset="0"/>
                <a:ea typeface="新細明體" charset="-120"/>
              </a:defRPr>
            </a:lvl2pPr>
            <a:lvl3pPr marL="1143000" indent="-228600" eaLnBrk="0" hangingPunct="0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Char char=""/>
              <a:defRPr sz="2400">
                <a:solidFill>
                  <a:schemeClr val="accent1"/>
                </a:solidFill>
                <a:latin typeface="Georgia" pitchFamily="18" charset="0"/>
                <a:ea typeface="新細明體" charset="-120"/>
              </a:defRPr>
            </a:lvl3pPr>
            <a:lvl4pPr marL="1600200" indent="-228600" eaLnBrk="0" hangingPunct="0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Char char=""/>
              <a:defRPr sz="2200">
                <a:solidFill>
                  <a:schemeClr val="accent1"/>
                </a:solidFill>
                <a:latin typeface="Georgia" pitchFamily="18" charset="0"/>
                <a:ea typeface="新細明體" charset="-120"/>
              </a:defRPr>
            </a:lvl4pPr>
            <a:lvl5pPr marL="2057400" indent="-228600" eaLnBrk="0" hangingPunct="0">
              <a:spcBef>
                <a:spcPts val="300"/>
              </a:spcBef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zh-TW" altLang="en-US" sz="2400" b="1" smtClean="0">
                <a:solidFill>
                  <a:srgbClr val="FFFF00"/>
                </a:solidFill>
                <a:latin typeface="微軟正黑體" pitchFamily="34" charset="-120"/>
                <a:ea typeface="微軟正黑體" pitchFamily="34" charset="-120"/>
              </a:rPr>
              <a:t>與紡研所合作開發</a:t>
            </a:r>
          </a:p>
        </p:txBody>
      </p:sp>
      <p:pic>
        <p:nvPicPr>
          <p:cNvPr id="6154" name="圖片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" y="476250"/>
            <a:ext cx="209867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2349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圖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284119">
            <a:off x="6434138" y="817563"/>
            <a:ext cx="1274762" cy="105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2" descr="C:\Users\johnnychen\Desktop\商品說明_02認證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04"/>
          <a:stretch>
            <a:fillRect/>
          </a:stretch>
        </p:blipFill>
        <p:spPr bwMode="auto">
          <a:xfrm>
            <a:off x="539750" y="3573463"/>
            <a:ext cx="8064500" cy="3960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2" descr="C:\Users\johnnychen\Desktop\商品說明_02認證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156"/>
          <a:stretch>
            <a:fillRect/>
          </a:stretch>
        </p:blipFill>
        <p:spPr bwMode="auto">
          <a:xfrm>
            <a:off x="1116013" y="2373313"/>
            <a:ext cx="6891337" cy="141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3" name="矩形 3"/>
          <p:cNvSpPr>
            <a:spLocks noChangeArrowheads="1"/>
          </p:cNvSpPr>
          <p:nvPr/>
        </p:nvSpPr>
        <p:spPr bwMode="auto">
          <a:xfrm>
            <a:off x="7005638" y="1662113"/>
            <a:ext cx="2030412" cy="830262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300"/>
              </a:spcBef>
              <a:buClr>
                <a:srgbClr val="5BD078"/>
              </a:buClr>
              <a:buFont typeface="Georgia" pitchFamily="18" charset="0"/>
              <a:buChar char="•"/>
              <a:defRPr sz="2800">
                <a:solidFill>
                  <a:schemeClr val="tx1"/>
                </a:solidFill>
                <a:latin typeface="Georgia" pitchFamily="18" charset="0"/>
                <a:ea typeface="新細明體" charset="-120"/>
              </a:defRPr>
            </a:lvl1pPr>
            <a:lvl2pPr marL="742950" indent="-285750" eaLnBrk="0" hangingPunct="0">
              <a:spcBef>
                <a:spcPts val="300"/>
              </a:spcBef>
              <a:buClr>
                <a:schemeClr val="accent2"/>
              </a:buClr>
              <a:buFont typeface="Georgia" pitchFamily="18" charset="0"/>
              <a:buChar char="▫"/>
              <a:defRPr sz="2600">
                <a:solidFill>
                  <a:schemeClr val="accent2"/>
                </a:solidFill>
                <a:latin typeface="Georgia" pitchFamily="18" charset="0"/>
                <a:ea typeface="新細明體" charset="-120"/>
              </a:defRPr>
            </a:lvl2pPr>
            <a:lvl3pPr marL="1143000" indent="-228600" eaLnBrk="0" hangingPunct="0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Char char=""/>
              <a:defRPr sz="2400">
                <a:solidFill>
                  <a:schemeClr val="accent1"/>
                </a:solidFill>
                <a:latin typeface="Georgia" pitchFamily="18" charset="0"/>
                <a:ea typeface="新細明體" charset="-120"/>
              </a:defRPr>
            </a:lvl3pPr>
            <a:lvl4pPr marL="1600200" indent="-228600" eaLnBrk="0" hangingPunct="0">
              <a:spcBef>
                <a:spcPts val="300"/>
              </a:spcBef>
              <a:buClr>
                <a:schemeClr val="accent1"/>
              </a:buClr>
              <a:buFont typeface="Wingdings 2" pitchFamily="18" charset="2"/>
              <a:buChar char=""/>
              <a:defRPr sz="2200">
                <a:solidFill>
                  <a:schemeClr val="accent1"/>
                </a:solidFill>
                <a:latin typeface="Georgia" pitchFamily="18" charset="0"/>
                <a:ea typeface="新細明體" charset="-120"/>
              </a:defRPr>
            </a:lvl4pPr>
            <a:lvl5pPr marL="2057400" indent="-228600" eaLnBrk="0" hangingPunct="0">
              <a:spcBef>
                <a:spcPts val="300"/>
              </a:spcBef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rgbClr val="5BD078"/>
              </a:buClr>
              <a:buFont typeface="Georgia" pitchFamily="18" charset="0"/>
              <a:buChar char="▫"/>
              <a:defRPr sz="2000">
                <a:solidFill>
                  <a:srgbClr val="5BD078"/>
                </a:solidFill>
                <a:latin typeface="Georgia" pitchFamily="18" charset="0"/>
                <a:ea typeface="新細明體" charset="-12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zh-TW" altLang="en-US" sz="2400" b="1" smtClean="0">
                <a:solidFill>
                  <a:srgbClr val="FFFF00"/>
                </a:solidFill>
                <a:latin typeface="微軟正黑體" pitchFamily="34" charset="-120"/>
                <a:ea typeface="微軟正黑體" pitchFamily="34" charset="-120"/>
              </a:rPr>
              <a:t>已取得紡研所</a:t>
            </a:r>
            <a:endParaRPr lang="en-US" altLang="zh-TW" sz="2400" b="1" smtClean="0">
              <a:solidFill>
                <a:srgbClr val="FFFF00"/>
              </a:solidFill>
              <a:latin typeface="微軟正黑體" pitchFamily="34" charset="-120"/>
              <a:ea typeface="微軟正黑體" pitchFamily="34" charset="-12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zh-TW" altLang="en-US" sz="2400" b="1" smtClean="0">
                <a:solidFill>
                  <a:srgbClr val="FFFF00"/>
                </a:solidFill>
                <a:latin typeface="微軟正黑體" pitchFamily="34" charset="-120"/>
                <a:ea typeface="微軟正黑體" pitchFamily="34" charset="-120"/>
              </a:rPr>
              <a:t>官方檢測證明</a:t>
            </a:r>
          </a:p>
        </p:txBody>
      </p:sp>
      <p:pic>
        <p:nvPicPr>
          <p:cNvPr id="7174" name="Picture 2" descr="T:\行銷\設計\00_品牌素材\comphy+\獨創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0350" y="750888"/>
            <a:ext cx="3500438" cy="152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5" name="圖片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" y="476250"/>
            <a:ext cx="213677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52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3" name="圖片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235825" y="4227513"/>
            <a:ext cx="1657350" cy="24812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矩形 1"/>
          <p:cNvSpPr/>
          <p:nvPr/>
        </p:nvSpPr>
        <p:spPr bwMode="auto">
          <a:xfrm>
            <a:off x="107950" y="1768475"/>
            <a:ext cx="5903913" cy="23082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3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雙   </a:t>
            </a:r>
            <a:r>
              <a:rPr lang="en-US" altLang="zh-TW" sz="3600" b="1" dirty="0">
                <a:solidFill>
                  <a:srgbClr val="C00000"/>
                </a:solidFill>
                <a:latin typeface="微軟正黑體"/>
                <a:ea typeface="微軟正黑體"/>
              </a:rPr>
              <a:t>$</a:t>
            </a:r>
            <a:r>
              <a:rPr lang="zh-TW" altLang="en-US" sz="3600" b="1" dirty="0">
                <a:solidFill>
                  <a:srgbClr val="C00000"/>
                </a:solidFill>
                <a:latin typeface="微軟正黑體"/>
                <a:ea typeface="微軟正黑體"/>
              </a:rPr>
              <a:t>  </a:t>
            </a:r>
            <a:r>
              <a:rPr lang="en-US" altLang="zh-TW" sz="3600" b="1" dirty="0">
                <a:solidFill>
                  <a:srgbClr val="C00000"/>
                </a:solidFill>
                <a:latin typeface="微軟正黑體"/>
                <a:ea typeface="微軟正黑體"/>
              </a:rPr>
              <a:t>999  </a:t>
            </a:r>
            <a:r>
              <a:rPr lang="zh-TW" altLang="en-US" sz="3600" b="1" dirty="0">
                <a:solidFill>
                  <a:srgbClr val="C00000"/>
                </a:solidFill>
                <a:latin typeface="微軟正黑體"/>
                <a:ea typeface="微軟正黑體"/>
              </a:rPr>
              <a:t>  </a:t>
            </a: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(</a:t>
            </a:r>
            <a:r>
              <a:rPr lang="en-US" altLang="zh-TW" sz="2400" b="1" dirty="0">
                <a:solidFill>
                  <a:srgbClr val="0000FF"/>
                </a:solidFill>
                <a:latin typeface="微軟正黑體"/>
                <a:ea typeface="微軟正黑體"/>
              </a:rPr>
              <a:t>56</a:t>
            </a:r>
            <a:r>
              <a:rPr lang="zh-TW" altLang="en-US" sz="2400" b="1" dirty="0">
                <a:solidFill>
                  <a:srgbClr val="0000FF"/>
                </a:solidFill>
                <a:latin typeface="微軟正黑體"/>
                <a:ea typeface="微軟正黑體"/>
              </a:rPr>
              <a:t>折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，原價</a:t>
            </a: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$1800</a:t>
            </a:r>
            <a:r>
              <a:rPr lang="en-US" altLang="zh-TW" sz="32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)  </a:t>
            </a:r>
            <a:r>
              <a:rPr lang="zh-TW" altLang="en-US" sz="32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 </a:t>
            </a:r>
            <a:endParaRPr lang="en-US" altLang="zh-TW" sz="2400" b="1" dirty="0">
              <a:solidFill>
                <a:prstClr val="black">
                  <a:lumMod val="75000"/>
                  <a:lumOff val="25000"/>
                </a:prstClr>
              </a:solidFill>
              <a:latin typeface="微軟正黑體"/>
              <a:ea typeface="微軟正黑體"/>
            </a:endParaRPr>
          </a:p>
          <a:p>
            <a:pPr>
              <a:defRPr/>
            </a:pP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5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雙   </a:t>
            </a:r>
            <a:r>
              <a:rPr lang="en-US" altLang="zh-TW" sz="3600" b="1" dirty="0">
                <a:solidFill>
                  <a:srgbClr val="C00000"/>
                </a:solidFill>
                <a:latin typeface="微軟正黑體"/>
                <a:ea typeface="微軟正黑體"/>
              </a:rPr>
              <a:t>$1,500  </a:t>
            </a:r>
            <a:r>
              <a:rPr lang="zh-TW" altLang="en-US" sz="3600" b="1" dirty="0">
                <a:solidFill>
                  <a:srgbClr val="C00000"/>
                </a:solidFill>
                <a:latin typeface="微軟正黑體"/>
                <a:ea typeface="微軟正黑體"/>
              </a:rPr>
              <a:t> </a:t>
            </a: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(</a:t>
            </a:r>
            <a:r>
              <a:rPr lang="en-US" altLang="zh-TW" sz="2400" b="1" dirty="0">
                <a:solidFill>
                  <a:srgbClr val="0000FF"/>
                </a:solidFill>
                <a:latin typeface="微軟正黑體"/>
                <a:ea typeface="微軟正黑體"/>
              </a:rPr>
              <a:t>5</a:t>
            </a:r>
            <a:r>
              <a:rPr lang="zh-TW" altLang="en-US" sz="2400" b="1" dirty="0">
                <a:solidFill>
                  <a:srgbClr val="0000FF"/>
                </a:solidFill>
                <a:latin typeface="微軟正黑體"/>
                <a:ea typeface="微軟正黑體"/>
              </a:rPr>
              <a:t>折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， 原價</a:t>
            </a: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$3,000)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   </a:t>
            </a:r>
            <a:endParaRPr lang="en-US" altLang="zh-TW" sz="2400" b="1" dirty="0">
              <a:solidFill>
                <a:prstClr val="black">
                  <a:lumMod val="75000"/>
                  <a:lumOff val="25000"/>
                </a:prstClr>
              </a:solidFill>
              <a:latin typeface="微軟正黑體"/>
              <a:ea typeface="微軟正黑體"/>
            </a:endParaRPr>
          </a:p>
          <a:p>
            <a:pPr>
              <a:defRPr/>
            </a:pP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7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雙   </a:t>
            </a:r>
            <a:r>
              <a:rPr lang="en-US" altLang="zh-TW" sz="3600" b="1" dirty="0">
                <a:solidFill>
                  <a:srgbClr val="C00000"/>
                </a:solidFill>
                <a:latin typeface="微軟正黑體"/>
                <a:ea typeface="微軟正黑體"/>
              </a:rPr>
              <a:t>$2,000  </a:t>
            </a:r>
            <a:r>
              <a:rPr lang="zh-TW" altLang="en-US" sz="3600" b="1" dirty="0">
                <a:solidFill>
                  <a:srgbClr val="C00000"/>
                </a:solidFill>
                <a:latin typeface="微軟正黑體"/>
                <a:ea typeface="微軟正黑體"/>
              </a:rPr>
              <a:t> </a:t>
            </a: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(</a:t>
            </a:r>
            <a:r>
              <a:rPr lang="en-US" altLang="zh-TW" sz="2400" b="1" dirty="0">
                <a:solidFill>
                  <a:srgbClr val="0000FF"/>
                </a:solidFill>
                <a:latin typeface="微軟正黑體"/>
                <a:ea typeface="微軟正黑體"/>
              </a:rPr>
              <a:t>48</a:t>
            </a:r>
            <a:r>
              <a:rPr lang="zh-TW" altLang="en-US" sz="2400" b="1" dirty="0">
                <a:solidFill>
                  <a:srgbClr val="0000FF"/>
                </a:solidFill>
                <a:latin typeface="微軟正黑體"/>
                <a:ea typeface="微軟正黑體"/>
              </a:rPr>
              <a:t>折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，原價</a:t>
            </a: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4,200)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     </a:t>
            </a:r>
            <a:endParaRPr lang="en-US" altLang="zh-TW" b="1" dirty="0">
              <a:solidFill>
                <a:prstClr val="black">
                  <a:lumMod val="75000"/>
                  <a:lumOff val="25000"/>
                </a:prstClr>
              </a:solidFill>
              <a:latin typeface="微軟正黑體"/>
              <a:ea typeface="微軟正黑體"/>
            </a:endParaRPr>
          </a:p>
          <a:p>
            <a:pPr>
              <a:defRPr/>
            </a:pP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10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雙 </a:t>
            </a:r>
            <a:r>
              <a:rPr lang="en-US" altLang="zh-TW" sz="3600" b="1" dirty="0">
                <a:solidFill>
                  <a:srgbClr val="C00000"/>
                </a:solidFill>
                <a:latin typeface="微軟正黑體"/>
                <a:ea typeface="微軟正黑體"/>
              </a:rPr>
              <a:t>$2,800 </a:t>
            </a:r>
            <a:r>
              <a:rPr lang="zh-TW" altLang="en-US" sz="3600" b="1" dirty="0">
                <a:solidFill>
                  <a:srgbClr val="C00000"/>
                </a:solidFill>
                <a:latin typeface="微軟正黑體"/>
                <a:ea typeface="微軟正黑體"/>
              </a:rPr>
              <a:t>  </a:t>
            </a: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(</a:t>
            </a:r>
            <a:r>
              <a:rPr lang="en-US" altLang="zh-TW" sz="2400" b="1" dirty="0">
                <a:solidFill>
                  <a:srgbClr val="0000FF"/>
                </a:solidFill>
                <a:latin typeface="微軟正黑體"/>
                <a:ea typeface="微軟正黑體"/>
              </a:rPr>
              <a:t>47</a:t>
            </a:r>
            <a:r>
              <a:rPr lang="zh-TW" altLang="en-US" sz="2400" b="1" dirty="0">
                <a:solidFill>
                  <a:srgbClr val="0000FF"/>
                </a:solidFill>
                <a:latin typeface="微軟正黑體"/>
                <a:ea typeface="微軟正黑體"/>
              </a:rPr>
              <a:t>折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，原價</a:t>
            </a:r>
            <a:r>
              <a:rPr lang="en-US" altLang="zh-TW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$6000)</a:t>
            </a:r>
            <a:r>
              <a:rPr lang="zh-TW" altLang="en-US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微軟正黑體"/>
                <a:ea typeface="微軟正黑體"/>
              </a:rPr>
              <a:t>    </a:t>
            </a:r>
            <a:endParaRPr lang="en-US" altLang="zh-TW" sz="2400" b="1" u="sng" dirty="0">
              <a:solidFill>
                <a:srgbClr val="0033CC"/>
              </a:solidFill>
              <a:latin typeface="微軟正黑體"/>
              <a:ea typeface="微軟正黑體"/>
            </a:endParaRPr>
          </a:p>
        </p:txBody>
      </p:sp>
      <p:sp>
        <p:nvSpPr>
          <p:cNvPr id="7" name="矩形 6"/>
          <p:cNvSpPr>
            <a:spLocks noChangeArrowheads="1"/>
          </p:cNvSpPr>
          <p:nvPr/>
        </p:nvSpPr>
        <p:spPr bwMode="auto">
          <a:xfrm>
            <a:off x="190500" y="4637088"/>
            <a:ext cx="6902450" cy="1662112"/>
          </a:xfrm>
          <a:prstGeom prst="rect">
            <a:avLst/>
          </a:prstGeom>
          <a:solidFill>
            <a:srgbClr val="0033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kumimoji="0" lang="zh-TW" altLang="en-US" sz="2400" b="1" dirty="0" smtClean="0">
                <a:solidFill>
                  <a:prstClr val="white"/>
                </a:solidFill>
                <a:latin typeface="微軟正黑體"/>
                <a:ea typeface="微軟正黑體"/>
              </a:rPr>
              <a:t>歡迎到  </a:t>
            </a:r>
            <a:r>
              <a:rPr kumimoji="0" lang="en-US" altLang="zh-TW" sz="3600" b="1" u="sng" dirty="0" smtClean="0">
                <a:solidFill>
                  <a:srgbClr val="FFFF00"/>
                </a:solidFill>
                <a:latin typeface="微軟正黑體"/>
                <a:ea typeface="微軟正黑體"/>
              </a:rPr>
              <a:t>NO.25</a:t>
            </a:r>
            <a:r>
              <a:rPr kumimoji="0" lang="zh-TW" altLang="en-US" sz="3200" b="1" u="sng" dirty="0" smtClean="0">
                <a:solidFill>
                  <a:srgbClr val="FFFF00"/>
                </a:solidFill>
                <a:latin typeface="微軟正黑體"/>
                <a:ea typeface="微軟正黑體"/>
              </a:rPr>
              <a:t> </a:t>
            </a:r>
            <a:r>
              <a:rPr kumimoji="0" lang="zh-TW" altLang="en-US" sz="2400" b="1" dirty="0" smtClean="0">
                <a:solidFill>
                  <a:prstClr val="white"/>
                </a:solidFill>
                <a:latin typeface="微軟正黑體"/>
                <a:ea typeface="微軟正黑體"/>
              </a:rPr>
              <a:t>  攤位找我們喔！</a:t>
            </a:r>
            <a:endParaRPr kumimoji="0" lang="en-US" altLang="zh-TW" sz="2400" b="1" dirty="0" smtClean="0">
              <a:solidFill>
                <a:prstClr val="white"/>
              </a:solidFill>
              <a:latin typeface="微軟正黑體"/>
              <a:ea typeface="微軟正黑體"/>
            </a:endParaRPr>
          </a:p>
          <a:p>
            <a:pPr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kumimoji="0" lang="zh-TW" altLang="en-US" sz="2400" b="1" dirty="0" smtClean="0">
                <a:solidFill>
                  <a:srgbClr val="FFFF00"/>
                </a:solidFill>
                <a:latin typeface="微軟正黑體"/>
                <a:ea typeface="微軟正黑體"/>
              </a:rPr>
              <a:t>夥伴商店名稱：</a:t>
            </a:r>
            <a:r>
              <a:rPr kumimoji="0" lang="en-US" altLang="zh-TW" sz="3200" b="1" u="sng" dirty="0" smtClean="0">
                <a:solidFill>
                  <a:srgbClr val="FFFF00"/>
                </a:solidFill>
                <a:latin typeface="微軟正黑體"/>
                <a:ea typeface="微軟正黑體"/>
              </a:rPr>
              <a:t>A.S.O</a:t>
            </a:r>
            <a:r>
              <a:rPr kumimoji="0" lang="zh-TW" altLang="en-US" sz="3200" b="1" u="sng" dirty="0" smtClean="0">
                <a:solidFill>
                  <a:srgbClr val="FFFF00"/>
                </a:solidFill>
                <a:latin typeface="微軟正黑體"/>
                <a:ea typeface="微軟正黑體"/>
              </a:rPr>
              <a:t> 阿瘦 </a:t>
            </a:r>
            <a:r>
              <a:rPr kumimoji="0" lang="en-US" altLang="zh-TW" sz="3200" b="1" u="sng" dirty="0" smtClean="0">
                <a:solidFill>
                  <a:srgbClr val="FFFF00"/>
                </a:solidFill>
                <a:latin typeface="微軟正黑體"/>
                <a:ea typeface="微軟正黑體"/>
              </a:rPr>
              <a:t>x </a:t>
            </a:r>
            <a:r>
              <a:rPr kumimoji="0" lang="en-US" altLang="zh-TW" sz="3200" b="1" u="sng" dirty="0" err="1" smtClean="0">
                <a:solidFill>
                  <a:srgbClr val="FFFF00"/>
                </a:solidFill>
                <a:latin typeface="微軟正黑體"/>
                <a:ea typeface="微軟正黑體"/>
              </a:rPr>
              <a:t>Comphy</a:t>
            </a:r>
            <a:r>
              <a:rPr kumimoji="0" lang="en-US" altLang="zh-TW" sz="3200" b="1" u="sng" dirty="0" smtClean="0">
                <a:solidFill>
                  <a:srgbClr val="FFFF00"/>
                </a:solidFill>
                <a:latin typeface="微軟正黑體"/>
                <a:ea typeface="微軟正黑體"/>
              </a:rPr>
              <a:t>+ </a:t>
            </a:r>
            <a:endParaRPr kumimoji="0" lang="zh-TW" altLang="en-US" sz="2400" b="1" u="sng" dirty="0" smtClean="0">
              <a:solidFill>
                <a:srgbClr val="FFFF00"/>
              </a:solidFill>
              <a:latin typeface="微軟正黑體"/>
              <a:ea typeface="微軟正黑體"/>
            </a:endParaRPr>
          </a:p>
        </p:txBody>
      </p:sp>
      <p:sp>
        <p:nvSpPr>
          <p:cNvPr id="9221" name="文字方塊 11"/>
          <p:cNvSpPr txBox="1">
            <a:spLocks noChangeArrowheads="1"/>
          </p:cNvSpPr>
          <p:nvPr/>
        </p:nvSpPr>
        <p:spPr bwMode="auto">
          <a:xfrm>
            <a:off x="0" y="677863"/>
            <a:ext cx="8064500" cy="708025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TW" altLang="en-US" sz="4000" b="1" dirty="0" smtClean="0">
                <a:solidFill>
                  <a:prstClr val="black"/>
                </a:solidFill>
                <a:latin typeface="微軟正黑體"/>
                <a:ea typeface="微軟正黑體"/>
              </a:rPr>
              <a:t>美安夥伴專屬！</a:t>
            </a:r>
            <a:r>
              <a:rPr kumimoji="0" lang="en-US" altLang="zh-TW" sz="4000" b="1" dirty="0" smtClean="0">
                <a:solidFill>
                  <a:prstClr val="black"/>
                </a:solidFill>
                <a:latin typeface="微軟正黑體"/>
                <a:ea typeface="微軟正黑體"/>
              </a:rPr>
              <a:t>4/29.30</a:t>
            </a:r>
            <a:r>
              <a:rPr kumimoji="0" lang="zh-TW" altLang="en-US" sz="4000" b="1" dirty="0" smtClean="0">
                <a:solidFill>
                  <a:prstClr val="black"/>
                </a:solidFill>
                <a:latin typeface="微軟正黑體"/>
                <a:ea typeface="微軟正黑體"/>
              </a:rPr>
              <a:t> 大會限定！</a:t>
            </a:r>
            <a:endParaRPr kumimoji="0" lang="zh-TW" altLang="en-US" sz="4000" b="1" u="sng" dirty="0" smtClean="0">
              <a:solidFill>
                <a:prstClr val="black"/>
              </a:solidFill>
              <a:latin typeface="微軟正黑體"/>
              <a:ea typeface="微軟正黑體"/>
            </a:endParaRPr>
          </a:p>
        </p:txBody>
      </p:sp>
      <p:sp>
        <p:nvSpPr>
          <p:cNvPr id="5" name="橢圓形圖說文字 4"/>
          <p:cNvSpPr/>
          <p:nvPr/>
        </p:nvSpPr>
        <p:spPr>
          <a:xfrm>
            <a:off x="5940425" y="1557338"/>
            <a:ext cx="2879725" cy="2379662"/>
          </a:xfrm>
          <a:prstGeom prst="wedgeEllipseCallout">
            <a:avLst>
              <a:gd name="adj1" fmla="val -62201"/>
              <a:gd name="adj2" fmla="val 45818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3200" b="1" dirty="0">
                <a:solidFill>
                  <a:srgbClr val="FFFF00"/>
                </a:solidFill>
                <a:latin typeface="微軟正黑體"/>
                <a:ea typeface="微軟正黑體"/>
              </a:rPr>
              <a:t>超集殺！襪款全面</a:t>
            </a:r>
            <a:r>
              <a:rPr kumimoji="1" lang="en-US" altLang="zh-TW" sz="7200" b="1" dirty="0">
                <a:solidFill>
                  <a:srgbClr val="FFFF00"/>
                </a:solidFill>
                <a:latin typeface="微軟正黑體"/>
                <a:ea typeface="微軟正黑體"/>
              </a:rPr>
              <a:t>47</a:t>
            </a:r>
            <a:r>
              <a:rPr kumimoji="1" lang="zh-TW" altLang="en-US" sz="3200" b="1" dirty="0">
                <a:solidFill>
                  <a:srgbClr val="FFFF00"/>
                </a:solidFill>
                <a:latin typeface="微軟正黑體"/>
                <a:ea typeface="微軟正黑體"/>
              </a:rPr>
              <a:t>折</a:t>
            </a:r>
            <a:r>
              <a:rPr kumimoji="1" lang="zh-TW" altLang="en-US" b="1" dirty="0">
                <a:solidFill>
                  <a:srgbClr val="FFFF00"/>
                </a:solidFill>
                <a:latin typeface="微軟正黑體"/>
                <a:ea typeface="微軟正黑體"/>
              </a:rPr>
              <a:t>起</a:t>
            </a:r>
            <a:endParaRPr kumimoji="1" lang="zh-TW" altLang="en-US" sz="3200" b="1" dirty="0">
              <a:solidFill>
                <a:srgbClr val="FFFF00"/>
              </a:solidFill>
              <a:latin typeface="微軟正黑體"/>
              <a:ea typeface="微軟正黑體"/>
            </a:endParaRPr>
          </a:p>
        </p:txBody>
      </p:sp>
    </p:spTree>
    <p:extLst>
      <p:ext uri="{BB962C8B-B14F-4D97-AF65-F5344CB8AC3E}">
        <p14:creationId xmlns:p14="http://schemas.microsoft.com/office/powerpoint/2010/main" val="29127970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圖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4221163"/>
            <a:ext cx="2565400" cy="221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圖片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363" y="911225"/>
            <a:ext cx="4211637" cy="280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橢圓 5"/>
          <p:cNvSpPr/>
          <p:nvPr/>
        </p:nvSpPr>
        <p:spPr>
          <a:xfrm>
            <a:off x="334963" y="884238"/>
            <a:ext cx="4452937" cy="55562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32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2017/5/31</a:t>
            </a:r>
            <a:r>
              <a:rPr kumimoji="1" lang="zh-TW" altLang="en-US" sz="32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前</a:t>
            </a:r>
            <a:endParaRPr kumimoji="1" lang="en-US" altLang="zh-TW" sz="3200" b="1" dirty="0">
              <a:solidFill>
                <a:prstClr val="black">
                  <a:lumMod val="85000"/>
                  <a:lumOff val="15000"/>
                </a:prstClr>
              </a:solidFill>
              <a:latin typeface="微軟正黑體"/>
              <a:ea typeface="微軟正黑體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32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單筆消費</a:t>
            </a:r>
            <a:endParaRPr kumimoji="1" lang="en-US" altLang="zh-TW" sz="3200" b="1" dirty="0">
              <a:solidFill>
                <a:prstClr val="black">
                  <a:lumMod val="85000"/>
                  <a:lumOff val="15000"/>
                </a:prstClr>
              </a:solidFill>
              <a:latin typeface="微軟正黑體"/>
              <a:ea typeface="微軟正黑體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3200" b="1" u="sng" dirty="0">
                <a:solidFill>
                  <a:srgbClr val="FF0000"/>
                </a:solidFill>
                <a:latin typeface="微軟正黑體"/>
                <a:ea typeface="微軟正黑體"/>
              </a:rPr>
              <a:t>滿</a:t>
            </a:r>
            <a:r>
              <a:rPr kumimoji="1" lang="en-US" altLang="zh-TW" sz="4000" b="1" u="sng" dirty="0">
                <a:solidFill>
                  <a:srgbClr val="FF0000"/>
                </a:solidFill>
                <a:latin typeface="微軟正黑體"/>
                <a:ea typeface="微軟正黑體"/>
              </a:rPr>
              <a:t>$5,000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32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抽</a:t>
            </a:r>
            <a:r>
              <a:rPr kumimoji="1" lang="en-US" altLang="zh-TW" sz="3600" b="1" dirty="0" err="1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Comphy</a:t>
            </a:r>
            <a:r>
              <a:rPr kumimoji="1" lang="en-US" altLang="zh-TW" sz="36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+</a:t>
            </a:r>
            <a:r>
              <a:rPr kumimoji="1" lang="zh-TW" altLang="en-US" sz="36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網站購物金</a:t>
            </a:r>
            <a:r>
              <a:rPr kumimoji="1" lang="en-US" altLang="zh-TW" sz="3600" b="1" u="sng" dirty="0">
                <a:solidFill>
                  <a:srgbClr val="0033CC"/>
                </a:solidFill>
                <a:latin typeface="微軟正黑體"/>
                <a:ea typeface="微軟正黑體"/>
              </a:rPr>
              <a:t>1000</a:t>
            </a:r>
            <a:r>
              <a:rPr kumimoji="1" lang="zh-TW" altLang="en-US" sz="3600" b="1" u="sng" dirty="0">
                <a:solidFill>
                  <a:srgbClr val="0033CC"/>
                </a:solidFill>
                <a:latin typeface="微軟正黑體"/>
                <a:ea typeface="微軟正黑體"/>
              </a:rPr>
              <a:t>元</a:t>
            </a:r>
            <a:endParaRPr kumimoji="1" lang="en-US" altLang="zh-TW" sz="3600" b="1" u="sng" dirty="0">
              <a:solidFill>
                <a:srgbClr val="0033CC"/>
              </a:solidFill>
              <a:latin typeface="微軟正黑體"/>
              <a:ea typeface="微軟正黑體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36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100</a:t>
            </a:r>
            <a:r>
              <a:rPr kumimoji="1" lang="zh-TW" altLang="en-US" sz="36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份</a:t>
            </a:r>
            <a:endParaRPr kumimoji="1" lang="en-US" altLang="zh-TW" sz="3600" b="1" dirty="0">
              <a:solidFill>
                <a:prstClr val="black">
                  <a:lumMod val="85000"/>
                  <a:lumOff val="15000"/>
                </a:prstClr>
              </a:solidFill>
              <a:latin typeface="微軟正黑體"/>
              <a:ea typeface="微軟正黑體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24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(</a:t>
            </a:r>
            <a:r>
              <a:rPr kumimoji="1" lang="zh-TW" altLang="en-US" sz="24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等同現金</a:t>
            </a:r>
            <a:r>
              <a:rPr kumimoji="1" lang="en-US" altLang="zh-TW" sz="2400" b="1" dirty="0">
                <a:solidFill>
                  <a:prstClr val="black">
                    <a:lumMod val="85000"/>
                    <a:lumOff val="15000"/>
                  </a:prstClr>
                </a:solidFill>
                <a:latin typeface="微軟正黑體"/>
                <a:ea typeface="微軟正黑體"/>
              </a:rPr>
              <a:t>)</a:t>
            </a:r>
            <a:endParaRPr kumimoji="1" lang="zh-TW" altLang="en-US" sz="2400" b="1" dirty="0">
              <a:solidFill>
                <a:prstClr val="black">
                  <a:lumMod val="85000"/>
                  <a:lumOff val="15000"/>
                </a:prstClr>
              </a:solidFill>
              <a:latin typeface="微軟正黑體"/>
              <a:ea typeface="微軟正黑體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zh-TW" altLang="en-US" dirty="0">
              <a:solidFill>
                <a:prstClr val="white"/>
              </a:solidFill>
            </a:endParaRPr>
          </a:p>
        </p:txBody>
      </p:sp>
      <p:pic>
        <p:nvPicPr>
          <p:cNvPr id="9221" name="圖片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" y="476250"/>
            <a:ext cx="213677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矩形 1"/>
          <p:cNvSpPr/>
          <p:nvPr/>
        </p:nvSpPr>
        <p:spPr>
          <a:xfrm>
            <a:off x="107950" y="6505575"/>
            <a:ext cx="7294563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1400" b="1" dirty="0">
                <a:solidFill>
                  <a:prstClr val="black"/>
                </a:solidFill>
                <a:latin typeface="微軟正黑體"/>
                <a:ea typeface="微軟正黑體"/>
              </a:rPr>
              <a:t>* $1000 </a:t>
            </a:r>
            <a:r>
              <a:rPr kumimoji="1" lang="zh-TW" altLang="en-US" sz="1400" b="1" dirty="0">
                <a:solidFill>
                  <a:prstClr val="black"/>
                </a:solidFill>
                <a:latin typeface="微軟正黑體"/>
                <a:ea typeface="微軟正黑體"/>
              </a:rPr>
              <a:t>購物金使用規則：</a:t>
            </a:r>
            <a:r>
              <a:rPr kumimoji="1" lang="en-US" altLang="zh-TW" sz="1400" b="1" dirty="0">
                <a:solidFill>
                  <a:prstClr val="black"/>
                </a:solidFill>
                <a:latin typeface="微軟正黑體"/>
                <a:ea typeface="微軟正黑體"/>
              </a:rPr>
              <a:t>8/31 </a:t>
            </a:r>
            <a:r>
              <a:rPr kumimoji="1" lang="zh-TW" altLang="en-US" sz="1400" b="1" dirty="0">
                <a:solidFill>
                  <a:prstClr val="black"/>
                </a:solidFill>
                <a:latin typeface="微軟正黑體"/>
                <a:ea typeface="微軟正黑體"/>
              </a:rPr>
              <a:t>前回購，單筆訂單達 </a:t>
            </a:r>
            <a:r>
              <a:rPr kumimoji="1" lang="en-US" altLang="zh-TW" sz="1400" b="1" dirty="0">
                <a:solidFill>
                  <a:prstClr val="black"/>
                </a:solidFill>
                <a:latin typeface="微軟正黑體"/>
                <a:ea typeface="微軟正黑體"/>
              </a:rPr>
              <a:t>$3000 </a:t>
            </a:r>
            <a:r>
              <a:rPr kumimoji="1" lang="zh-TW" altLang="en-US" sz="1400" b="1" dirty="0">
                <a:solidFill>
                  <a:prstClr val="black"/>
                </a:solidFill>
                <a:latin typeface="微軟正黑體"/>
                <a:ea typeface="微軟正黑體"/>
              </a:rPr>
              <a:t>現折 </a:t>
            </a:r>
            <a:r>
              <a:rPr kumimoji="1" lang="en-US" altLang="zh-TW" sz="1400" b="1" dirty="0">
                <a:solidFill>
                  <a:prstClr val="black"/>
                </a:solidFill>
                <a:latin typeface="微軟正黑體"/>
                <a:ea typeface="微軟正黑體"/>
              </a:rPr>
              <a:t>$1000</a:t>
            </a:r>
            <a:r>
              <a:rPr kumimoji="1" lang="zh-TW" altLang="en-US" sz="1400" b="1" dirty="0">
                <a:solidFill>
                  <a:prstClr val="black"/>
                </a:solidFill>
                <a:latin typeface="微軟正黑體"/>
                <a:ea typeface="微軟正黑體"/>
              </a:rPr>
              <a:t>（新品除外</a:t>
            </a:r>
            <a:r>
              <a:rPr kumimoji="1" lang="zh-TW" altLang="en-US" sz="1400" dirty="0">
                <a:solidFill>
                  <a:prstClr val="black"/>
                </a:solidFill>
                <a:latin typeface="微軟正黑體"/>
                <a:ea typeface="微軟正黑體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948588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668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內容版面配置區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576"/>
            <a:ext cx="9144000" cy="6858000"/>
          </a:xfrm>
        </p:spPr>
      </p:pic>
      <p:pic>
        <p:nvPicPr>
          <p:cNvPr id="5" name="圖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6909" y="0"/>
            <a:ext cx="4087091" cy="6858000"/>
          </a:xfrm>
          <a:prstGeom prst="rect">
            <a:avLst/>
          </a:prstGeom>
        </p:spPr>
      </p:pic>
      <p:grpSp>
        <p:nvGrpSpPr>
          <p:cNvPr id="9" name="群組 8"/>
          <p:cNvGrpSpPr/>
          <p:nvPr/>
        </p:nvGrpSpPr>
        <p:grpSpPr>
          <a:xfrm>
            <a:off x="203200" y="18481"/>
            <a:ext cx="8897259" cy="4480948"/>
            <a:chOff x="246742" y="18481"/>
            <a:chExt cx="8897259" cy="4480948"/>
          </a:xfrm>
        </p:grpSpPr>
        <p:pic>
          <p:nvPicPr>
            <p:cNvPr id="6" name="圖片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09799" y="18481"/>
              <a:ext cx="3914890" cy="3914890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246742" y="3614056"/>
              <a:ext cx="8897259" cy="885373"/>
            </a:xfrm>
            <a:prstGeom prst="rect">
              <a:avLst/>
            </a:prstGeom>
            <a:solidFill>
              <a:srgbClr val="FFFF00"/>
            </a:solidFill>
            <a:ln w="762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>
                <a:solidFill>
                  <a:prstClr val="white"/>
                </a:solidFill>
              </a:endParaRPr>
            </a:p>
          </p:txBody>
        </p:sp>
        <p:pic>
          <p:nvPicPr>
            <p:cNvPr id="8" name="圖片 7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24" t="73549" r="19710" b="22751"/>
            <a:stretch/>
          </p:blipFill>
          <p:spPr>
            <a:xfrm>
              <a:off x="358323" y="3715657"/>
              <a:ext cx="8655052" cy="6821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0628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2164770" y="4653136"/>
            <a:ext cx="4570482" cy="1859434"/>
            <a:chOff x="6647845" y="2676131"/>
            <a:chExt cx="5865273" cy="4166026"/>
          </a:xfrm>
        </p:grpSpPr>
        <p:sp>
          <p:nvSpPr>
            <p:cNvPr id="6" name="Rectangle 1"/>
            <p:cNvSpPr/>
            <p:nvPr/>
          </p:nvSpPr>
          <p:spPr>
            <a:xfrm>
              <a:off x="6647845" y="2676131"/>
              <a:ext cx="5865273" cy="227557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88215">
                <a:defRPr/>
              </a:pPr>
              <a:r>
                <a:rPr lang="zh-TW" altLang="en-US" sz="6000" b="1" spc="-300" dirty="0">
                  <a:solidFill>
                    <a:srgbClr val="FFFF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美安夥伴商店</a:t>
              </a:r>
              <a:endParaRPr lang="en-US" sz="6000" b="1" spc="-300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7" name="Rectangle 2"/>
            <p:cNvSpPr/>
            <p:nvPr/>
          </p:nvSpPr>
          <p:spPr>
            <a:xfrm>
              <a:off x="7363724" y="4773454"/>
              <a:ext cx="4433515" cy="206870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88215">
                <a:defRPr/>
              </a:pPr>
              <a:r>
                <a:rPr lang="zh-TW" altLang="en-US" sz="5400" b="1" spc="-300" dirty="0" smtClean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消費</a:t>
              </a:r>
              <a:r>
                <a:rPr lang="zh-TW" altLang="en-US" sz="5400" b="1" spc="-300" dirty="0">
                  <a:solidFill>
                    <a:prstClr val="white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轉收入</a:t>
              </a:r>
              <a:endParaRPr lang="en-US" sz="5400" b="1" spc="-300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19458" name="Picture 2" descr="C:\Users\Julias\Desktop\shutterstock_33712247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188640"/>
            <a:ext cx="5472608" cy="4402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2904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5" name="內容版面配置區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</p:spPr>
      </p:pic>
    </p:spTree>
    <p:extLst>
      <p:ext uri="{BB962C8B-B14F-4D97-AF65-F5344CB8AC3E}">
        <p14:creationId xmlns:p14="http://schemas.microsoft.com/office/powerpoint/2010/main" val="1398152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319"/>
            <a:ext cx="9157758" cy="6868319"/>
          </a:xfrm>
        </p:spPr>
      </p:pic>
    </p:spTree>
    <p:extLst>
      <p:ext uri="{BB962C8B-B14F-4D97-AF65-F5344CB8AC3E}">
        <p14:creationId xmlns:p14="http://schemas.microsoft.com/office/powerpoint/2010/main" val="1963293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</p:spPr>
      </p:pic>
      <p:pic>
        <p:nvPicPr>
          <p:cNvPr id="5" name="圖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300441"/>
            <a:ext cx="9144000" cy="1059780"/>
          </a:xfrm>
          <a:prstGeom prst="rect">
            <a:avLst/>
          </a:prstGeom>
        </p:spPr>
      </p:pic>
      <p:pic>
        <p:nvPicPr>
          <p:cNvPr id="6" name="圖片 5"/>
          <p:cNvPicPr>
            <a:picLocks noChangeAspect="1"/>
          </p:cNvPicPr>
          <p:nvPr/>
        </p:nvPicPr>
        <p:blipFill rotWithShape="1">
          <a:blip r:embed="rId4"/>
          <a:srcRect r="1406" b="7589"/>
          <a:stretch/>
        </p:blipFill>
        <p:spPr>
          <a:xfrm>
            <a:off x="-1" y="495756"/>
            <a:ext cx="9158515" cy="4826236"/>
          </a:xfrm>
          <a:prstGeom prst="rect">
            <a:avLst/>
          </a:prstGeom>
        </p:spPr>
      </p:pic>
      <p:sp>
        <p:nvSpPr>
          <p:cNvPr id="8" name="圓角矩形 7"/>
          <p:cNvSpPr/>
          <p:nvPr/>
        </p:nvSpPr>
        <p:spPr>
          <a:xfrm>
            <a:off x="275771" y="1598614"/>
            <a:ext cx="2931886" cy="883329"/>
          </a:xfrm>
          <a:prstGeom prst="roundRect">
            <a:avLst/>
          </a:prstGeom>
          <a:gradFill flip="none" rotWithShape="1">
            <a:gsLst>
              <a:gs pos="0">
                <a:srgbClr val="FFFF00">
                  <a:shade val="30000"/>
                  <a:satMod val="115000"/>
                </a:srgbClr>
              </a:gs>
              <a:gs pos="50000">
                <a:srgbClr val="FFFF00">
                  <a:shade val="67500"/>
                  <a:satMod val="115000"/>
                </a:srgbClr>
              </a:gs>
              <a:gs pos="100000">
                <a:srgbClr val="FFFF00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4000" b="1" i="1" dirty="0" smtClean="0">
                <a:solidFill>
                  <a:srgbClr val="FF0000"/>
                </a:solidFill>
                <a:latin typeface="微軟正黑體" panose="020B0604030504040204" pitchFamily="34" charset="-120"/>
              </a:rPr>
              <a:t>1. </a:t>
            </a:r>
            <a:r>
              <a:rPr lang="zh-TW" altLang="en-US" sz="4000" b="1" dirty="0" smtClean="0">
                <a:solidFill>
                  <a:srgbClr val="FF0000"/>
                </a:solidFill>
                <a:latin typeface="微軟正黑體" panose="020B0604030504040204" pitchFamily="34" charset="-120"/>
              </a:rPr>
              <a:t>黃金版位</a:t>
            </a:r>
            <a:endParaRPr lang="zh-TW" altLang="en-US" sz="4000" b="1" dirty="0">
              <a:solidFill>
                <a:srgbClr val="FF0000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9" name="圓角矩形 8"/>
          <p:cNvSpPr/>
          <p:nvPr/>
        </p:nvSpPr>
        <p:spPr>
          <a:xfrm>
            <a:off x="5704114" y="365126"/>
            <a:ext cx="3033485" cy="883329"/>
          </a:xfrm>
          <a:prstGeom prst="roundRect">
            <a:avLst/>
          </a:prstGeom>
          <a:gradFill flip="none" rotWithShape="1">
            <a:gsLst>
              <a:gs pos="0">
                <a:srgbClr val="FFFF00">
                  <a:shade val="30000"/>
                  <a:satMod val="115000"/>
                </a:srgbClr>
              </a:gs>
              <a:gs pos="50000">
                <a:srgbClr val="FFFF00">
                  <a:shade val="67500"/>
                  <a:satMod val="115000"/>
                </a:srgbClr>
              </a:gs>
              <a:gs pos="100000">
                <a:srgbClr val="FFFF00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4000" b="1" i="1" dirty="0">
                <a:solidFill>
                  <a:srgbClr val="FF0000"/>
                </a:solidFill>
                <a:latin typeface="微軟正黑體" panose="020B0604030504040204" pitchFamily="34" charset="-120"/>
              </a:rPr>
              <a:t>2</a:t>
            </a:r>
            <a:r>
              <a:rPr lang="en-US" altLang="zh-TW" sz="4000" b="1" i="1" dirty="0" smtClean="0">
                <a:solidFill>
                  <a:srgbClr val="FF0000"/>
                </a:solidFill>
                <a:latin typeface="微軟正黑體" panose="020B0604030504040204" pitchFamily="34" charset="-120"/>
              </a:rPr>
              <a:t>. </a:t>
            </a:r>
            <a:r>
              <a:rPr lang="zh-TW" altLang="en-US" sz="4000" b="1" i="1" dirty="0" smtClean="0">
                <a:solidFill>
                  <a:srgbClr val="FF0000"/>
                </a:solidFill>
                <a:latin typeface="微軟正黑體" panose="020B0604030504040204" pitchFamily="34" charset="-120"/>
              </a:rPr>
              <a:t>每日限殺</a:t>
            </a:r>
            <a:endParaRPr lang="zh-TW" altLang="en-US" sz="2000" b="1" dirty="0">
              <a:solidFill>
                <a:srgbClr val="FF0000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10" name="圓角矩形 9"/>
          <p:cNvSpPr/>
          <p:nvPr/>
        </p:nvSpPr>
        <p:spPr>
          <a:xfrm>
            <a:off x="2474686" y="3322768"/>
            <a:ext cx="2931886" cy="883329"/>
          </a:xfrm>
          <a:prstGeom prst="roundRect">
            <a:avLst/>
          </a:prstGeom>
          <a:gradFill flip="none" rotWithShape="1">
            <a:gsLst>
              <a:gs pos="0">
                <a:srgbClr val="FFFF00">
                  <a:shade val="30000"/>
                  <a:satMod val="115000"/>
                </a:srgbClr>
              </a:gs>
              <a:gs pos="50000">
                <a:srgbClr val="FFFF00">
                  <a:shade val="67500"/>
                  <a:satMod val="115000"/>
                </a:srgbClr>
              </a:gs>
              <a:gs pos="100000">
                <a:srgbClr val="FFFF00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4000" b="1" i="1" dirty="0">
                <a:solidFill>
                  <a:srgbClr val="FF0000"/>
                </a:solidFill>
                <a:latin typeface="微軟正黑體" panose="020B0604030504040204" pitchFamily="34" charset="-120"/>
              </a:rPr>
              <a:t>3</a:t>
            </a:r>
            <a:r>
              <a:rPr lang="en-US" altLang="zh-TW" sz="4000" b="1" i="1" dirty="0" smtClean="0">
                <a:solidFill>
                  <a:srgbClr val="FF0000"/>
                </a:solidFill>
                <a:latin typeface="微軟正黑體" panose="020B0604030504040204" pitchFamily="34" charset="-120"/>
              </a:rPr>
              <a:t>. </a:t>
            </a:r>
            <a:r>
              <a:rPr lang="zh-TW" altLang="en-US" sz="4000" b="1" i="1" dirty="0" smtClean="0">
                <a:solidFill>
                  <a:srgbClr val="FF0000"/>
                </a:solidFill>
                <a:latin typeface="微軟正黑體" panose="020B0604030504040204" pitchFamily="34" charset="-120"/>
              </a:rPr>
              <a:t>推薦商品</a:t>
            </a:r>
            <a:endParaRPr lang="zh-TW" altLang="en-US" sz="4000" b="1" dirty="0">
              <a:solidFill>
                <a:srgbClr val="FF0000"/>
              </a:solidFill>
              <a:latin typeface="微軟正黑體" panose="020B0604030504040204" pitchFamily="34" charset="-120"/>
            </a:endParaRPr>
          </a:p>
        </p:txBody>
      </p:sp>
      <p:sp>
        <p:nvSpPr>
          <p:cNvPr id="11" name="圓角矩形 10"/>
          <p:cNvSpPr/>
          <p:nvPr/>
        </p:nvSpPr>
        <p:spPr>
          <a:xfrm>
            <a:off x="5682341" y="1901134"/>
            <a:ext cx="2931886" cy="883329"/>
          </a:xfrm>
          <a:prstGeom prst="roundRect">
            <a:avLst/>
          </a:prstGeom>
          <a:gradFill flip="none" rotWithShape="1">
            <a:gsLst>
              <a:gs pos="0">
                <a:srgbClr val="FFFF00">
                  <a:shade val="30000"/>
                  <a:satMod val="115000"/>
                </a:srgbClr>
              </a:gs>
              <a:gs pos="50000">
                <a:srgbClr val="FFFF00">
                  <a:shade val="67500"/>
                  <a:satMod val="115000"/>
                </a:srgbClr>
              </a:gs>
              <a:gs pos="100000">
                <a:srgbClr val="FFFF00">
                  <a:shade val="100000"/>
                  <a:satMod val="115000"/>
                </a:srgbClr>
              </a:gs>
            </a:gsLst>
            <a:lin ang="18900000" scaled="1"/>
            <a:tileRect/>
          </a:gra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4000" b="1" i="1" dirty="0" smtClean="0">
                <a:solidFill>
                  <a:srgbClr val="FF0000"/>
                </a:solidFill>
                <a:latin typeface="微軟正黑體" panose="020B0604030504040204" pitchFamily="34" charset="-120"/>
              </a:rPr>
              <a:t>4. </a:t>
            </a:r>
            <a:r>
              <a:rPr lang="zh-TW" altLang="en-US" sz="4000" b="1" i="1" dirty="0" smtClean="0">
                <a:solidFill>
                  <a:srgbClr val="FF0000"/>
                </a:solidFill>
                <a:latin typeface="微軟正黑體" panose="020B0604030504040204" pitchFamily="34" charset="-120"/>
              </a:rPr>
              <a:t>活動專區</a:t>
            </a:r>
            <a:endParaRPr lang="zh-TW" altLang="en-US" sz="4000" b="1" dirty="0">
              <a:solidFill>
                <a:srgbClr val="FF0000"/>
              </a:solidFill>
              <a:latin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539575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</p:spPr>
      </p:pic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683732"/>
              </p:ext>
            </p:extLst>
          </p:nvPr>
        </p:nvGraphicFramePr>
        <p:xfrm>
          <a:off x="391886" y="1335316"/>
          <a:ext cx="8360228" cy="5050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3028"/>
                <a:gridCol w="4267200"/>
              </a:tblGrid>
              <a:tr h="609598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zh-TW" altLang="en-US" sz="1800" dirty="0" smtClean="0">
                          <a:solidFill>
                            <a:srgbClr val="0000FF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800" dirty="0" smtClean="0">
                          <a:solidFill>
                            <a:srgbClr val="0000FF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PHILIPS</a:t>
                      </a:r>
                      <a:r>
                        <a:rPr lang="zh-TW" altLang="en-US" sz="1800" dirty="0" smtClean="0">
                          <a:solidFill>
                            <a:srgbClr val="0000FF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護齦音波震動牙刷 </a:t>
                      </a:r>
                      <a:r>
                        <a:rPr lang="en-US" altLang="zh-TW" sz="1800" dirty="0" smtClean="0">
                          <a:solidFill>
                            <a:srgbClr val="0000FF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HX6616</a:t>
                      </a:r>
                      <a:endParaRPr lang="zh-TW" altLang="en-US" sz="1800" dirty="0">
                        <a:solidFill>
                          <a:srgbClr val="0000FF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zh-TW" altLang="en-US" dirty="0" smtClean="0">
                          <a:solidFill>
                            <a:srgbClr val="0000FF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樂扣樂扣蒂芬妮藍絕美安心</a:t>
                      </a:r>
                      <a:r>
                        <a:rPr lang="en-US" altLang="zh-TW" dirty="0" smtClean="0">
                          <a:solidFill>
                            <a:srgbClr val="0000FF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</a:t>
                      </a:r>
                      <a:r>
                        <a:rPr lang="zh-TW" altLang="en-US" dirty="0" smtClean="0">
                          <a:solidFill>
                            <a:srgbClr val="0000FF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件組</a:t>
                      </a:r>
                      <a:endParaRPr lang="zh-TW" altLang="en-US" dirty="0">
                        <a:solidFill>
                          <a:srgbClr val="0000FF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</a:tr>
              <a:tr h="2664274"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</a:tr>
              <a:tr h="711200">
                <a:tc>
                  <a:txBody>
                    <a:bodyPr/>
                    <a:lstStyle/>
                    <a:p>
                      <a:r>
                        <a:rPr lang="zh-TW" altLang="en-US" sz="2400" dirty="0" smtClean="0"/>
                        <a:t>售價：</a:t>
                      </a:r>
                      <a:r>
                        <a:rPr lang="en-US" altLang="zh-TW" sz="2400" strike="sngStrike" dirty="0" smtClean="0"/>
                        <a:t>$5,280</a:t>
                      </a:r>
                    </a:p>
                    <a:p>
                      <a:r>
                        <a:rPr lang="zh-TW" altLang="en-US" sz="2400" dirty="0" smtClean="0"/>
                        <a:t>特價：</a:t>
                      </a:r>
                      <a:r>
                        <a:rPr lang="en-US" altLang="zh-TW" sz="2400" strike="sngStrike" dirty="0" smtClean="0"/>
                        <a:t>$4,980</a:t>
                      </a:r>
                      <a:r>
                        <a:rPr lang="zh-TW" altLang="en-US" sz="2400" strike="sngStrike" dirty="0" smtClean="0"/>
                        <a:t> </a:t>
                      </a:r>
                      <a:endParaRPr lang="zh-TW" altLang="en-US" sz="2400" strike="sngStrik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zh-TW" altLang="en-US" sz="2400" dirty="0" smtClean="0"/>
                        <a:t>售價：</a:t>
                      </a:r>
                      <a:r>
                        <a:rPr lang="en-US" altLang="zh-TW" sz="2400" strike="sngStrike" dirty="0" smtClean="0"/>
                        <a:t>$2,099</a:t>
                      </a:r>
                    </a:p>
                    <a:p>
                      <a:r>
                        <a:rPr lang="zh-TW" altLang="en-US" sz="2400" dirty="0" smtClean="0"/>
                        <a:t>特價：</a:t>
                      </a:r>
                      <a:r>
                        <a:rPr lang="en-US" altLang="zh-TW" sz="2400" strike="sngStrike" dirty="0" smtClean="0"/>
                        <a:t>$1,549</a:t>
                      </a:r>
                      <a:endParaRPr lang="zh-TW" altLang="en-US" sz="2400" strike="sngStrike" dirty="0" smtClean="0"/>
                    </a:p>
                  </a:txBody>
                  <a:tcPr/>
                </a:tc>
              </a:tr>
              <a:tr h="923658">
                <a:tc>
                  <a:txBody>
                    <a:bodyPr/>
                    <a:lstStyle/>
                    <a:p>
                      <a:r>
                        <a:rPr lang="zh-TW" altLang="en-US" sz="2400" dirty="0" smtClean="0"/>
                        <a:t>美安特殺價 </a:t>
                      </a:r>
                      <a:r>
                        <a:rPr lang="en-US" altLang="zh-TW" sz="5400" dirty="0" smtClean="0">
                          <a:solidFill>
                            <a:srgbClr val="FF0000"/>
                          </a:solidFill>
                        </a:rPr>
                        <a:t>$2,980</a:t>
                      </a:r>
                      <a:r>
                        <a:rPr lang="zh-TW" altLang="en-US" sz="540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endParaRPr lang="zh-TW" altLang="en-US" sz="2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美安特殺價 </a:t>
                      </a:r>
                      <a:r>
                        <a:rPr lang="en-US" altLang="zh-TW" sz="540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$999</a:t>
                      </a:r>
                      <a:r>
                        <a:rPr lang="zh-TW" altLang="en-US" sz="540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矩形 6"/>
          <p:cNvSpPr/>
          <p:nvPr/>
        </p:nvSpPr>
        <p:spPr>
          <a:xfrm>
            <a:off x="957940" y="580571"/>
            <a:ext cx="7082971" cy="725715"/>
          </a:xfrm>
          <a:prstGeom prst="rect">
            <a:avLst/>
          </a:prstGeom>
          <a:solidFill>
            <a:srgbClr val="A5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28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</a:rPr>
              <a:t>美安會員專屬 </a:t>
            </a:r>
            <a:r>
              <a:rPr lang="en-US" altLang="zh-TW" sz="28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</a:rPr>
              <a:t>5</a:t>
            </a:r>
            <a:r>
              <a:rPr lang="zh-TW" altLang="en-US" sz="28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</a:rPr>
              <a:t>月 結帳</a:t>
            </a:r>
            <a:r>
              <a:rPr lang="zh-TW" altLang="en-US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</a:rPr>
              <a:t>驚喜</a:t>
            </a:r>
            <a:r>
              <a:rPr lang="zh-TW" altLang="en-US" sz="28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</a:rPr>
              <a:t>價 </a:t>
            </a:r>
            <a:endParaRPr lang="zh-TW" altLang="en-US" sz="28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</a:endParaRPr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9974" y="2075546"/>
            <a:ext cx="2451916" cy="2451916"/>
          </a:xfrm>
          <a:prstGeom prst="rect">
            <a:avLst/>
          </a:prstGeom>
        </p:spPr>
      </p:pic>
      <p:sp>
        <p:nvSpPr>
          <p:cNvPr id="10" name="文字方塊 9"/>
          <p:cNvSpPr txBox="1"/>
          <p:nvPr/>
        </p:nvSpPr>
        <p:spPr>
          <a:xfrm>
            <a:off x="7581333" y="3972886"/>
            <a:ext cx="116128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600" b="1" dirty="0" smtClean="0">
                <a:solidFill>
                  <a:srgbClr val="002060"/>
                </a:solidFill>
              </a:rPr>
              <a:t>2L</a:t>
            </a:r>
            <a:r>
              <a:rPr lang="zh-TW" altLang="en-US" sz="1600" b="1" dirty="0" smtClean="0">
                <a:solidFill>
                  <a:srgbClr val="002060"/>
                </a:solidFill>
              </a:rPr>
              <a:t> * </a:t>
            </a:r>
            <a:r>
              <a:rPr lang="en-US" altLang="zh-TW" sz="1600" b="1" dirty="0" smtClean="0">
                <a:solidFill>
                  <a:srgbClr val="002060"/>
                </a:solidFill>
              </a:rPr>
              <a:t>1</a:t>
            </a:r>
          </a:p>
          <a:p>
            <a:r>
              <a:rPr lang="en-US" altLang="zh-TW" sz="1600" b="1" dirty="0" smtClean="0">
                <a:solidFill>
                  <a:srgbClr val="002060"/>
                </a:solidFill>
              </a:rPr>
              <a:t>1L</a:t>
            </a:r>
            <a:r>
              <a:rPr lang="zh-TW" altLang="en-US" sz="1600" b="1" dirty="0" smtClean="0">
                <a:solidFill>
                  <a:srgbClr val="002060"/>
                </a:solidFill>
              </a:rPr>
              <a:t> * </a:t>
            </a:r>
            <a:r>
              <a:rPr lang="en-US" altLang="zh-TW" sz="1600" b="1" dirty="0" smtClean="0">
                <a:solidFill>
                  <a:srgbClr val="002060"/>
                </a:solidFill>
              </a:rPr>
              <a:t>1</a:t>
            </a:r>
          </a:p>
          <a:p>
            <a:r>
              <a:rPr lang="en-US" altLang="zh-TW" sz="1600" b="1" dirty="0" smtClean="0">
                <a:solidFill>
                  <a:srgbClr val="002060"/>
                </a:solidFill>
              </a:rPr>
              <a:t>730 mL *1</a:t>
            </a:r>
          </a:p>
          <a:p>
            <a:r>
              <a:rPr lang="en-US" altLang="zh-TW" sz="1600" b="1" dirty="0" smtClean="0">
                <a:solidFill>
                  <a:srgbClr val="002060"/>
                </a:solidFill>
              </a:rPr>
              <a:t>650 mL *1</a:t>
            </a:r>
          </a:p>
          <a:p>
            <a:r>
              <a:rPr lang="en-US" altLang="zh-TW" sz="1600" b="1" dirty="0" smtClean="0">
                <a:solidFill>
                  <a:srgbClr val="002060"/>
                </a:solidFill>
              </a:rPr>
              <a:t>500 mL *1</a:t>
            </a:r>
          </a:p>
          <a:p>
            <a:r>
              <a:rPr lang="en-US" altLang="zh-TW" sz="1600" b="1" dirty="0" smtClean="0">
                <a:solidFill>
                  <a:srgbClr val="002060"/>
                </a:solidFill>
              </a:rPr>
              <a:t>380 mL *1</a:t>
            </a:r>
            <a:endParaRPr lang="zh-TW" altLang="en-US" sz="1600" b="1" dirty="0">
              <a:solidFill>
                <a:srgbClr val="002060"/>
              </a:solidFill>
            </a:endParaRPr>
          </a:p>
        </p:txBody>
      </p:sp>
      <p:pic>
        <p:nvPicPr>
          <p:cNvPr id="11" name="圖片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85" y="2037249"/>
            <a:ext cx="2528509" cy="2528509"/>
          </a:xfrm>
          <a:prstGeom prst="rect">
            <a:avLst/>
          </a:prstGeom>
        </p:spPr>
      </p:pic>
      <p:sp>
        <p:nvSpPr>
          <p:cNvPr id="14" name="流程圖: 接點 13"/>
          <p:cNvSpPr/>
          <p:nvPr/>
        </p:nvSpPr>
        <p:spPr>
          <a:xfrm>
            <a:off x="2794866" y="2075546"/>
            <a:ext cx="1673064" cy="1673064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6600" b="1" dirty="0" smtClean="0">
                <a:solidFill>
                  <a:srgbClr val="FFFF00"/>
                </a:solidFill>
              </a:rPr>
              <a:t>56</a:t>
            </a:r>
            <a:r>
              <a:rPr lang="zh-TW" altLang="en-US" sz="4000" b="1" dirty="0" smtClean="0">
                <a:solidFill>
                  <a:srgbClr val="FFFF00"/>
                </a:solidFill>
              </a:rPr>
              <a:t>折</a:t>
            </a:r>
            <a:endParaRPr lang="zh-TW" altLang="en-US" sz="4000" b="1" dirty="0">
              <a:solidFill>
                <a:srgbClr val="FFFF00"/>
              </a:solidFill>
            </a:endParaRPr>
          </a:p>
        </p:txBody>
      </p:sp>
      <p:pic>
        <p:nvPicPr>
          <p:cNvPr id="15" name="圖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9002" y="2104574"/>
            <a:ext cx="1067932" cy="648239"/>
          </a:xfrm>
          <a:prstGeom prst="rect">
            <a:avLst/>
          </a:prstGeom>
        </p:spPr>
      </p:pic>
      <p:sp>
        <p:nvSpPr>
          <p:cNvPr id="16" name="流程圖: 接點 15"/>
          <p:cNvSpPr/>
          <p:nvPr/>
        </p:nvSpPr>
        <p:spPr>
          <a:xfrm>
            <a:off x="6957312" y="2080785"/>
            <a:ext cx="1734433" cy="1734433"/>
          </a:xfrm>
          <a:prstGeom prst="flowChartConnector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6600" b="1" dirty="0" smtClean="0">
                <a:solidFill>
                  <a:srgbClr val="FFFF00"/>
                </a:solidFill>
              </a:rPr>
              <a:t>48</a:t>
            </a:r>
            <a:r>
              <a:rPr lang="zh-TW" altLang="en-US" sz="4000" b="1" dirty="0" smtClean="0">
                <a:solidFill>
                  <a:srgbClr val="FFFF00"/>
                </a:solidFill>
              </a:rPr>
              <a:t>折</a:t>
            </a:r>
            <a:endParaRPr lang="zh-TW" altLang="en-US" sz="4000" b="1" dirty="0">
              <a:solidFill>
                <a:srgbClr val="FFFF00"/>
              </a:solidFill>
            </a:endParaRPr>
          </a:p>
        </p:txBody>
      </p:sp>
      <p:sp>
        <p:nvSpPr>
          <p:cNvPr id="17" name="文字方塊 16"/>
          <p:cNvSpPr txBox="1"/>
          <p:nvPr/>
        </p:nvSpPr>
        <p:spPr>
          <a:xfrm>
            <a:off x="4001170" y="6460873"/>
            <a:ext cx="48862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dirty="0" smtClean="0">
                <a:solidFill>
                  <a:srgbClr val="0000FF"/>
                </a:solidFill>
              </a:rPr>
              <a:t>價格不公開，放入購物車結帳時才顯示特殺價</a:t>
            </a:r>
            <a:r>
              <a:rPr lang="en-US" altLang="zh-TW" dirty="0" smtClean="0">
                <a:solidFill>
                  <a:srgbClr val="0000FF"/>
                </a:solidFill>
              </a:rPr>
              <a:t>!</a:t>
            </a:r>
            <a:endParaRPr lang="zh-TW" altLang="en-US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766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圖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156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770" name="群組 6"/>
          <p:cNvGrpSpPr>
            <a:grpSpLocks/>
          </p:cNvGrpSpPr>
          <p:nvPr/>
        </p:nvGrpSpPr>
        <p:grpSpPr bwMode="auto">
          <a:xfrm>
            <a:off x="1258888" y="4013200"/>
            <a:ext cx="2724150" cy="1169988"/>
            <a:chOff x="305845" y="3355481"/>
            <a:chExt cx="2724538" cy="1168166"/>
          </a:xfrm>
        </p:grpSpPr>
        <p:sp>
          <p:nvSpPr>
            <p:cNvPr id="3" name="矩形 39"/>
            <p:cNvSpPr>
              <a:spLocks noChangeArrowheads="1"/>
            </p:cNvSpPr>
            <p:nvPr/>
          </p:nvSpPr>
          <p:spPr bwMode="auto">
            <a:xfrm>
              <a:off x="305845" y="3355481"/>
              <a:ext cx="2724538" cy="431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zh-TW" altLang="en-US" sz="22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Century Gothic" pitchFamily="34" charset="0"/>
                  <a:ea typeface="微軟正黑體" pitchFamily="34" charset="-120"/>
                </a:rPr>
                <a:t>赫斯特時尚媒體集團</a:t>
              </a:r>
            </a:p>
          </p:txBody>
        </p:sp>
        <p:sp>
          <p:nvSpPr>
            <p:cNvPr id="4" name="矩形 40"/>
            <p:cNvSpPr>
              <a:spLocks noChangeArrowheads="1"/>
            </p:cNvSpPr>
            <p:nvPr/>
          </p:nvSpPr>
          <p:spPr bwMode="auto">
            <a:xfrm>
              <a:off x="813917" y="3786609"/>
              <a:ext cx="1735384" cy="737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zh-TW" altLang="en-US" sz="2100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Century Gothic" pitchFamily="34" charset="0"/>
                  <a:ea typeface="微軟正黑體" pitchFamily="34" charset="-120"/>
                </a:rPr>
                <a:t>總經理 </a:t>
              </a:r>
              <a:endParaRPr kumimoji="0" lang="en-US" altLang="zh-TW" sz="21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itchFamily="34" charset="0"/>
                <a:ea typeface="微軟正黑體" pitchFamily="34" charset="-120"/>
              </a:endParaRPr>
            </a:p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en-US" altLang="zh-TW" sz="2100" b="1" dirty="0" smtClean="0">
                  <a:solidFill>
                    <a:prstClr val="black">
                      <a:lumMod val="85000"/>
                      <a:lumOff val="15000"/>
                    </a:prstClr>
                  </a:solidFill>
                  <a:latin typeface="Century Gothic" pitchFamily="34" charset="0"/>
                  <a:ea typeface="微軟正黑體" pitchFamily="34" charset="-120"/>
                </a:rPr>
                <a:t>Daisy Wang</a:t>
              </a:r>
              <a:endParaRPr kumimoji="0" lang="zh-TW" altLang="en-US" sz="21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itchFamily="34" charset="0"/>
                <a:ea typeface="微軟正黑體" pitchFamily="34" charset="-120"/>
              </a:endParaRPr>
            </a:p>
          </p:txBody>
        </p:sp>
      </p:grpSp>
      <p:pic>
        <p:nvPicPr>
          <p:cNvPr id="3277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7188" y="981075"/>
            <a:ext cx="2016125" cy="277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3787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圖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3795" name="群組 12"/>
          <p:cNvGrpSpPr>
            <a:grpSpLocks/>
          </p:cNvGrpSpPr>
          <p:nvPr/>
        </p:nvGrpSpPr>
        <p:grpSpPr bwMode="auto">
          <a:xfrm>
            <a:off x="957263" y="923925"/>
            <a:ext cx="7273925" cy="5281613"/>
            <a:chOff x="957502" y="692595"/>
            <a:chExt cx="7273491" cy="3961608"/>
          </a:xfrm>
        </p:grpSpPr>
        <p:cxnSp>
          <p:nvCxnSpPr>
            <p:cNvPr id="7" name="直線單箭頭接點 60"/>
            <p:cNvCxnSpPr/>
            <p:nvPr/>
          </p:nvCxnSpPr>
          <p:spPr>
            <a:xfrm flipV="1">
              <a:off x="1695645" y="2747820"/>
              <a:ext cx="5889274" cy="5954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803" name="群組 11"/>
            <p:cNvGrpSpPr>
              <a:grpSpLocks/>
            </p:cNvGrpSpPr>
            <p:nvPr/>
          </p:nvGrpSpPr>
          <p:grpSpPr bwMode="auto">
            <a:xfrm>
              <a:off x="957502" y="692595"/>
              <a:ext cx="7273491" cy="3961608"/>
              <a:chOff x="957502" y="692595"/>
              <a:chExt cx="7273491" cy="3961608"/>
            </a:xfrm>
          </p:grpSpPr>
          <p:cxnSp>
            <p:nvCxnSpPr>
              <p:cNvPr id="3" name="直線單箭頭接點 46"/>
              <p:cNvCxnSpPr/>
              <p:nvPr/>
            </p:nvCxnSpPr>
            <p:spPr>
              <a:xfrm flipH="1" flipV="1">
                <a:off x="4502177" y="987900"/>
                <a:ext cx="0" cy="3385288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805" name="矩形 26"/>
              <p:cNvSpPr>
                <a:spLocks noChangeArrowheads="1"/>
              </p:cNvSpPr>
              <p:nvPr/>
            </p:nvSpPr>
            <p:spPr bwMode="auto">
              <a:xfrm>
                <a:off x="3922250" y="692595"/>
                <a:ext cx="1107816" cy="277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zh-TW" altLang="en-US" sz="1800" b="1" smtClean="0">
                    <a:solidFill>
                      <a:srgbClr val="595959"/>
                    </a:solidFill>
                    <a:latin typeface="微軟正黑體" pitchFamily="34" charset="-120"/>
                    <a:ea typeface="微軟正黑體" pitchFamily="34" charset="-120"/>
                    <a:cs typeface="DIN Condensed Bold"/>
                  </a:rPr>
                  <a:t>高端消費</a:t>
                </a:r>
                <a:endParaRPr lang="en-US" altLang="zh-TW" sz="1800" b="1" smtClean="0">
                  <a:solidFill>
                    <a:srgbClr val="595959"/>
                  </a:solidFill>
                  <a:latin typeface="微軟正黑體" pitchFamily="34" charset="-120"/>
                  <a:ea typeface="微軟正黑體" pitchFamily="34" charset="-120"/>
                  <a:cs typeface="DIN Condensed Bold"/>
                </a:endParaRPr>
              </a:p>
            </p:txBody>
          </p:sp>
          <p:sp>
            <p:nvSpPr>
              <p:cNvPr id="33806" name="矩形 23"/>
              <p:cNvSpPr>
                <a:spLocks noChangeArrowheads="1"/>
              </p:cNvSpPr>
              <p:nvPr/>
            </p:nvSpPr>
            <p:spPr bwMode="auto">
              <a:xfrm>
                <a:off x="3948439" y="4377193"/>
                <a:ext cx="1107816" cy="277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zh-TW" altLang="en-US" sz="1800" b="1" smtClean="0">
                    <a:solidFill>
                      <a:srgbClr val="595959"/>
                    </a:solidFill>
                    <a:latin typeface="微軟正黑體" pitchFamily="34" charset="-120"/>
                    <a:ea typeface="微軟正黑體" pitchFamily="34" charset="-120"/>
                    <a:cs typeface="DIN Condensed Bold"/>
                  </a:rPr>
                  <a:t>平易消費</a:t>
                </a:r>
                <a:endParaRPr lang="en-US" altLang="zh-TW" sz="1800" b="1" smtClean="0">
                  <a:solidFill>
                    <a:srgbClr val="595959"/>
                  </a:solidFill>
                  <a:latin typeface="微軟正黑體" pitchFamily="34" charset="-120"/>
                  <a:ea typeface="微軟正黑體" pitchFamily="34" charset="-120"/>
                  <a:cs typeface="DIN Condensed Bold"/>
                </a:endParaRPr>
              </a:p>
            </p:txBody>
          </p:sp>
          <p:sp>
            <p:nvSpPr>
              <p:cNvPr id="33807" name="矩形 38"/>
              <p:cNvSpPr>
                <a:spLocks noChangeArrowheads="1"/>
              </p:cNvSpPr>
              <p:nvPr/>
            </p:nvSpPr>
            <p:spPr bwMode="auto">
              <a:xfrm>
                <a:off x="957502" y="2598840"/>
                <a:ext cx="646225" cy="277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algn="ctr" eaLnBrk="1" fontAlgn="base" hangingPunct="1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zh-TW" altLang="en-US" sz="1800" b="1" smtClean="0">
                    <a:solidFill>
                      <a:srgbClr val="595959"/>
                    </a:solidFill>
                    <a:latin typeface="微軟正黑體" pitchFamily="34" charset="-120"/>
                    <a:ea typeface="微軟正黑體" pitchFamily="34" charset="-120"/>
                    <a:cs typeface="DIN Condensed Bold"/>
                  </a:rPr>
                  <a:t>實用</a:t>
                </a:r>
                <a:endParaRPr lang="en-US" altLang="zh-TW" sz="1800" b="1" smtClean="0">
                  <a:solidFill>
                    <a:srgbClr val="595959"/>
                  </a:solidFill>
                  <a:latin typeface="微軟正黑體" pitchFamily="34" charset="-120"/>
                  <a:ea typeface="微軟正黑體" pitchFamily="34" charset="-120"/>
                  <a:cs typeface="DIN Condensed Bold"/>
                </a:endParaRPr>
              </a:p>
            </p:txBody>
          </p:sp>
          <p:sp>
            <p:nvSpPr>
              <p:cNvPr id="33808" name="矩形 28"/>
              <p:cNvSpPr>
                <a:spLocks noChangeArrowheads="1"/>
              </p:cNvSpPr>
              <p:nvPr/>
            </p:nvSpPr>
            <p:spPr bwMode="auto">
              <a:xfrm>
                <a:off x="7584768" y="2615000"/>
                <a:ext cx="646225" cy="2770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eaLnBrk="1" fontAlgn="base" hangingPunct="1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zh-TW" altLang="en-US" sz="1800" b="1" smtClean="0">
                    <a:solidFill>
                      <a:srgbClr val="595959"/>
                    </a:solidFill>
                    <a:latin typeface="微軟正黑體" pitchFamily="34" charset="-120"/>
                    <a:ea typeface="微軟正黑體" pitchFamily="34" charset="-120"/>
                    <a:cs typeface="DIN Condensed Bold"/>
                  </a:rPr>
                  <a:t>潮流</a:t>
                </a:r>
                <a:endParaRPr lang="en-US" altLang="zh-TW" sz="1800" b="1" smtClean="0">
                  <a:solidFill>
                    <a:srgbClr val="595959"/>
                  </a:solidFill>
                  <a:latin typeface="微軟正黑體" pitchFamily="34" charset="-120"/>
                  <a:ea typeface="微軟正黑體" pitchFamily="34" charset="-120"/>
                  <a:cs typeface="DIN Condensed Bold"/>
                </a:endParaRPr>
              </a:p>
            </p:txBody>
          </p:sp>
          <p:sp>
            <p:nvSpPr>
              <p:cNvPr id="9" name="等腰三角形 8"/>
              <p:cNvSpPr/>
              <p:nvPr/>
            </p:nvSpPr>
            <p:spPr>
              <a:xfrm>
                <a:off x="2741746" y="1274870"/>
                <a:ext cx="3468480" cy="2554147"/>
              </a:xfrm>
              <a:prstGeom prst="triangle">
                <a:avLst>
                  <a:gd name="adj" fmla="val 50337"/>
                </a:avLst>
              </a:prstGeom>
              <a:noFill/>
              <a:ln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zh-TW" altLang="en-US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32775" name="矩形 27"/>
          <p:cNvSpPr>
            <a:spLocks noChangeArrowheads="1"/>
          </p:cNvSpPr>
          <p:nvPr/>
        </p:nvSpPr>
        <p:spPr bwMode="auto">
          <a:xfrm>
            <a:off x="376238" y="304800"/>
            <a:ext cx="4494212" cy="523875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zh-TW" altLang="en-US" sz="2800" b="1" dirty="0" smtClean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</a:rPr>
              <a:t>最具指標性的兩大時尚寶典</a:t>
            </a:r>
            <a:endParaRPr lang="en-US" altLang="zh-TW" sz="2800" b="1" dirty="0" smtClean="0">
              <a:solidFill>
                <a:srgbClr val="000000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32776" name="文字方塊 13"/>
          <p:cNvSpPr txBox="1">
            <a:spLocks noChangeArrowheads="1"/>
          </p:cNvSpPr>
          <p:nvPr/>
        </p:nvSpPr>
        <p:spPr bwMode="auto">
          <a:xfrm>
            <a:off x="5076825" y="4508500"/>
            <a:ext cx="3890963" cy="923925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TW" altLang="en-US" sz="1800" smtClean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將時尚以平易近人的方式，帶入妳的生活、為妳的性感、活力、風格整體加分！</a:t>
            </a:r>
          </a:p>
        </p:txBody>
      </p:sp>
      <p:sp>
        <p:nvSpPr>
          <p:cNvPr id="32777" name="文字方塊 28"/>
          <p:cNvSpPr txBox="1">
            <a:spLocks noChangeArrowheads="1"/>
          </p:cNvSpPr>
          <p:nvPr/>
        </p:nvSpPr>
        <p:spPr bwMode="auto">
          <a:xfrm>
            <a:off x="4859338" y="549275"/>
            <a:ext cx="4545012" cy="36988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zh-TW" altLang="en-US" sz="1800" dirty="0" smtClean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營造藝術、時尚、美學的高端品味人生！</a:t>
            </a:r>
          </a:p>
        </p:txBody>
      </p:sp>
      <p:pic>
        <p:nvPicPr>
          <p:cNvPr id="18" name="Picture 2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829050" y="2543175"/>
            <a:ext cx="1387475" cy="181451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1" descr="《Harper’s BAZAAR》國際中文版3月號  KAROLINA KURKOVA 超越維納斯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68988" y="1138238"/>
            <a:ext cx="1377950" cy="178593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0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438" y="5795963"/>
            <a:ext cx="739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136928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27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27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27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27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27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27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776" grpId="0" animBg="1"/>
      <p:bldP spid="32777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9" descr="C:\Users\adriana.chen\Desktop\之\圖庫\新增資料夾\24d2f9451b3621afcf39625e9d03f174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" y="7938"/>
            <a:ext cx="91471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395288" y="333375"/>
            <a:ext cx="1873250" cy="1065213"/>
          </a:xfrm>
        </p:spPr>
        <p:txBody>
          <a:bodyPr/>
          <a:lstStyle/>
          <a:p>
            <a:pPr>
              <a:defRPr/>
            </a:pPr>
            <a:r>
              <a:rPr lang="zh-TW" altLang="en-US" sz="28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她經濟</a:t>
            </a:r>
          </a:p>
        </p:txBody>
      </p:sp>
      <p:sp>
        <p:nvSpPr>
          <p:cNvPr id="33796" name="內容版面配置區 2"/>
          <p:cNvSpPr>
            <a:spLocks noGrp="1"/>
          </p:cNvSpPr>
          <p:nvPr>
            <p:ph idx="1"/>
          </p:nvPr>
        </p:nvSpPr>
        <p:spPr>
          <a:xfrm>
            <a:off x="461963" y="1263650"/>
            <a:ext cx="6413500" cy="1373188"/>
          </a:xfrm>
        </p:spPr>
        <p:txBody>
          <a:bodyPr/>
          <a:lstStyle/>
          <a:p>
            <a:r>
              <a:rPr lang="en-US" altLang="zh-TW" sz="2000" smtClean="0">
                <a:latin typeface="微軟正黑體" pitchFamily="34" charset="-120"/>
                <a:ea typeface="微軟正黑體" pitchFamily="34" charset="-120"/>
              </a:rPr>
              <a:t>2016 </a:t>
            </a:r>
            <a:r>
              <a:rPr lang="zh-TW" altLang="zh-TW" sz="2000" smtClean="0">
                <a:latin typeface="微軟正黑體" pitchFamily="34" charset="-120"/>
                <a:ea typeface="微軟正黑體" pitchFamily="34" charset="-120"/>
              </a:rPr>
              <a:t>根據萬事達卡調查，台灣女性消費商機高達</a:t>
            </a:r>
            <a:r>
              <a:rPr lang="en-US" altLang="zh-TW" sz="2000" smtClean="0">
                <a:latin typeface="微軟正黑體" pitchFamily="34" charset="-120"/>
                <a:ea typeface="微軟正黑體" pitchFamily="34" charset="-120"/>
              </a:rPr>
              <a:t>1.3</a:t>
            </a:r>
            <a:r>
              <a:rPr lang="zh-TW" altLang="zh-TW" sz="2000" smtClean="0">
                <a:latin typeface="微軟正黑體" pitchFamily="34" charset="-120"/>
                <a:ea typeface="微軟正黑體" pitchFamily="34" charset="-120"/>
              </a:rPr>
              <a:t>兆</a:t>
            </a:r>
            <a:r>
              <a:rPr lang="zh-TW" altLang="en-US" sz="2000" smtClean="0">
                <a:latin typeface="微軟正黑體" pitchFamily="34" charset="-120"/>
                <a:ea typeface="微軟正黑體" pitchFamily="34" charset="-120"/>
              </a:rPr>
              <a:t>，其中</a:t>
            </a:r>
            <a:r>
              <a:rPr lang="zh-TW" altLang="zh-TW" sz="2000" smtClean="0">
                <a:latin typeface="微軟正黑體" pitchFamily="34" charset="-120"/>
                <a:ea typeface="微軟正黑體" pitchFamily="34" charset="-120"/>
              </a:rPr>
              <a:t>，</a:t>
            </a:r>
            <a:r>
              <a:rPr lang="zh-TW" altLang="zh-TW" sz="2000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年輕女性的消費能力最值得大家重視</a:t>
            </a:r>
            <a:r>
              <a:rPr lang="zh-TW" altLang="en-US" sz="2000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！</a:t>
            </a:r>
            <a:endParaRPr lang="en-US" altLang="zh-TW" sz="2000" smtClean="0">
              <a:solidFill>
                <a:srgbClr val="C00000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33803" name="文字方塊 3"/>
          <p:cNvSpPr txBox="1">
            <a:spLocks noChangeArrowheads="1"/>
          </p:cNvSpPr>
          <p:nvPr/>
        </p:nvSpPr>
        <p:spPr bwMode="auto">
          <a:xfrm>
            <a:off x="5651500" y="6381750"/>
            <a:ext cx="42227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kumimoji="1" lang="zh-TW" altLang="en-US" sz="1600" dirty="0" smtClean="0">
                <a:solidFill>
                  <a:srgbClr val="C0504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資料提供：</a:t>
            </a:r>
            <a:r>
              <a:rPr kumimoji="1" lang="en-US" altLang="zh-TW" sz="1600" dirty="0" smtClean="0">
                <a:solidFill>
                  <a:srgbClr val="C0504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T</a:t>
            </a:r>
            <a:r>
              <a:rPr kumimoji="1" lang="zh-TW" altLang="en-US" sz="1600" dirty="0" smtClean="0">
                <a:solidFill>
                  <a:srgbClr val="C0504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kumimoji="1" lang="en-US" altLang="zh-TW" sz="1600" dirty="0" smtClean="0">
                <a:solidFill>
                  <a:srgbClr val="C0504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oday/</a:t>
            </a:r>
            <a:r>
              <a:rPr kumimoji="1" lang="zh-TW" altLang="en-US" sz="1600" dirty="0" smtClean="0">
                <a:solidFill>
                  <a:srgbClr val="C0504D">
                    <a:lumMod val="75000"/>
                  </a:srgb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周財富網</a:t>
            </a:r>
          </a:p>
        </p:txBody>
      </p:sp>
      <p:sp>
        <p:nvSpPr>
          <p:cNvPr id="3" name="矩形 2"/>
          <p:cNvSpPr/>
          <p:nvPr/>
        </p:nvSpPr>
        <p:spPr>
          <a:xfrm>
            <a:off x="460375" y="2492375"/>
            <a:ext cx="6624638" cy="16303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zh-TW" altLang="zh-TW" sz="2000" dirty="0">
              <a:solidFill>
                <a:prstClr val="black"/>
              </a:solidFill>
              <a:latin typeface="微軟正黑體" pitchFamily="34" charset="-120"/>
              <a:ea typeface="微軟正黑體" pitchFamily="34" charset="-12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1" lang="en-US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2016 </a:t>
            </a:r>
            <a:r>
              <a:rPr kumimoji="1" lang="zh-TW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雙</a:t>
            </a:r>
            <a:r>
              <a:rPr kumimoji="1" lang="en-US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 11</a:t>
            </a:r>
            <a:r>
              <a:rPr kumimoji="1" lang="zh-TW" altLang="en-US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，台灣</a:t>
            </a:r>
            <a:r>
              <a:rPr kumimoji="1" lang="zh-TW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以女性消費者居多，高達</a:t>
            </a:r>
            <a:r>
              <a:rPr kumimoji="1" lang="en-US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 8 </a:t>
            </a:r>
            <a:r>
              <a:rPr kumimoji="1" lang="zh-TW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成女性瘋迷</a:t>
            </a:r>
            <a:r>
              <a:rPr kumimoji="1" lang="en-US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 APP </a:t>
            </a:r>
            <a:r>
              <a:rPr kumimoji="1" lang="zh-TW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搶購，</a:t>
            </a:r>
            <a:r>
              <a:rPr kumimoji="1" lang="zh-TW" altLang="zh-TW" sz="2000" dirty="0">
                <a:solidFill>
                  <a:srgbClr val="C0504D">
                    <a:lumMod val="75000"/>
                  </a:srgbClr>
                </a:solidFill>
                <a:latin typeface="微軟正黑體" pitchFamily="34" charset="-120"/>
                <a:ea typeface="微軟正黑體" pitchFamily="34" charset="-120"/>
              </a:rPr>
              <a:t>更帶動「她商機」</a:t>
            </a:r>
            <a:r>
              <a:rPr kumimoji="1" lang="zh-TW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！其中以</a:t>
            </a:r>
            <a:r>
              <a:rPr kumimoji="1" lang="en-US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 25 </a:t>
            </a:r>
            <a:r>
              <a:rPr kumimoji="1" lang="zh-TW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至</a:t>
            </a:r>
            <a:r>
              <a:rPr kumimoji="1" lang="en-US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 34 </a:t>
            </a:r>
            <a:r>
              <a:rPr kumimoji="1" lang="zh-TW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歲的輕熟女消費佔比最高，搶購商品</a:t>
            </a:r>
            <a:r>
              <a:rPr kumimoji="1" lang="en-US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3</a:t>
            </a:r>
            <a:r>
              <a:rPr kumimoji="1" lang="zh-TW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大熱門類別為「美妝類」、「流行服裝類」、「美食</a:t>
            </a:r>
            <a:r>
              <a:rPr kumimoji="1" lang="en-US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 / </a:t>
            </a:r>
            <a:r>
              <a:rPr kumimoji="1" lang="zh-TW" altLang="zh-TW" sz="20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特產類」</a:t>
            </a:r>
            <a:endParaRPr kumimoji="1" lang="zh-TW" altLang="en-US" sz="2000" dirty="0">
              <a:solidFill>
                <a:prstClr val="black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4" name="圓角矩形 3"/>
          <p:cNvSpPr/>
          <p:nvPr/>
        </p:nvSpPr>
        <p:spPr>
          <a:xfrm>
            <a:off x="811213" y="5084763"/>
            <a:ext cx="1366837" cy="647700"/>
          </a:xfrm>
          <a:prstGeom prst="roundRect">
            <a:avLst/>
          </a:prstGeom>
          <a:solidFill>
            <a:srgbClr val="C00000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b="1" dirty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重視健康</a:t>
            </a:r>
          </a:p>
        </p:txBody>
      </p:sp>
      <p:sp>
        <p:nvSpPr>
          <p:cNvPr id="14" name="圓角矩形 13"/>
          <p:cNvSpPr/>
          <p:nvPr/>
        </p:nvSpPr>
        <p:spPr>
          <a:xfrm>
            <a:off x="2341563" y="5084763"/>
            <a:ext cx="1366837" cy="647700"/>
          </a:xfrm>
          <a:prstGeom prst="roundRect">
            <a:avLst/>
          </a:prstGeom>
          <a:solidFill>
            <a:srgbClr val="C00000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1600" b="1" dirty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尋找平衡點</a:t>
            </a:r>
          </a:p>
        </p:txBody>
      </p:sp>
      <p:sp>
        <p:nvSpPr>
          <p:cNvPr id="19" name="圓角矩形 18"/>
          <p:cNvSpPr/>
          <p:nvPr/>
        </p:nvSpPr>
        <p:spPr>
          <a:xfrm>
            <a:off x="3913188" y="5084763"/>
            <a:ext cx="1366837" cy="647700"/>
          </a:xfrm>
          <a:prstGeom prst="roundRect">
            <a:avLst/>
          </a:prstGeom>
          <a:solidFill>
            <a:srgbClr val="C00000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1600" b="1" dirty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 活動社交</a:t>
            </a:r>
          </a:p>
        </p:txBody>
      </p:sp>
      <p:sp>
        <p:nvSpPr>
          <p:cNvPr id="22" name="圓角矩形 21"/>
          <p:cNvSpPr/>
          <p:nvPr/>
        </p:nvSpPr>
        <p:spPr>
          <a:xfrm>
            <a:off x="5435600" y="5084763"/>
            <a:ext cx="1366838" cy="647700"/>
          </a:xfrm>
          <a:prstGeom prst="roundRect">
            <a:avLst/>
          </a:prstGeom>
          <a:solidFill>
            <a:srgbClr val="C00000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1600" b="1" dirty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自我成長</a:t>
            </a:r>
          </a:p>
        </p:txBody>
      </p:sp>
      <p:sp>
        <p:nvSpPr>
          <p:cNvPr id="23" name="圓角矩形 22"/>
          <p:cNvSpPr/>
          <p:nvPr/>
        </p:nvSpPr>
        <p:spPr>
          <a:xfrm>
            <a:off x="6981825" y="5084763"/>
            <a:ext cx="1366838" cy="647700"/>
          </a:xfrm>
          <a:prstGeom prst="roundRect">
            <a:avLst/>
          </a:prstGeom>
          <a:solidFill>
            <a:srgbClr val="C00000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1600" b="1" dirty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精明消費</a:t>
            </a:r>
          </a:p>
        </p:txBody>
      </p:sp>
    </p:spTree>
    <p:extLst>
      <p:ext uri="{BB962C8B-B14F-4D97-AF65-F5344CB8AC3E}">
        <p14:creationId xmlns:p14="http://schemas.microsoft.com/office/powerpoint/2010/main" val="3755880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37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37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37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4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796" grpId="0" build="p"/>
      <p:bldP spid="3" grpId="0"/>
      <p:bldP spid="4" grpId="0" animBg="1"/>
      <p:bldP spid="14" grpId="0" animBg="1"/>
      <p:bldP spid="19" grpId="0" animBg="1"/>
      <p:bldP spid="22" grpId="0" animBg="1"/>
      <p:bldP spid="23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圖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82" r="16293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橢圓 5"/>
          <p:cNvSpPr/>
          <p:nvPr/>
        </p:nvSpPr>
        <p:spPr>
          <a:xfrm>
            <a:off x="2279650" y="836613"/>
            <a:ext cx="6396038" cy="5761037"/>
          </a:xfrm>
          <a:prstGeom prst="ellipse">
            <a:avLst/>
          </a:prstGeom>
          <a:noFill/>
          <a:ln w="57150" cap="sq" cmpd="sng">
            <a:solidFill>
              <a:schemeClr val="accent2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zh-TW" altLang="en-US">
              <a:solidFill>
                <a:prstClr val="white"/>
              </a:solidFill>
            </a:endParaRPr>
          </a:p>
        </p:txBody>
      </p:sp>
      <p:sp>
        <p:nvSpPr>
          <p:cNvPr id="7" name="橢圓 6"/>
          <p:cNvSpPr/>
          <p:nvPr/>
        </p:nvSpPr>
        <p:spPr>
          <a:xfrm>
            <a:off x="6651625" y="1125538"/>
            <a:ext cx="2316163" cy="2159000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800" b="1" dirty="0" smtClean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  <a:cs typeface="Tahoma" pitchFamily="34" charset="0"/>
              </a:rPr>
              <a:t>網站</a:t>
            </a:r>
            <a:endParaRPr lang="en-US" altLang="zh-TW" sz="2800" b="1" dirty="0" smtClean="0">
              <a:solidFill>
                <a:prstClr val="white"/>
              </a:solidFill>
              <a:latin typeface="微軟正黑體" pitchFamily="34" charset="-120"/>
              <a:ea typeface="微軟正黑體" pitchFamily="34" charset="-120"/>
              <a:cs typeface="Tahoma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zh-TW" b="1" dirty="0" smtClean="0">
              <a:solidFill>
                <a:prstClr val="white"/>
              </a:solidFill>
              <a:latin typeface="Century Gothic" pitchFamily="34" charset="0"/>
              <a:ea typeface="微軟正黑體" pitchFamily="34" charset="-120"/>
              <a:cs typeface="Tahoma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b="1" dirty="0" smtClean="0">
                <a:solidFill>
                  <a:prstClr val="white"/>
                </a:solidFill>
                <a:latin typeface="Century Gothic" pitchFamily="34" charset="0"/>
                <a:ea typeface="微軟正黑體" pitchFamily="34" charset="-120"/>
                <a:cs typeface="Tahoma" pitchFamily="34" charset="0"/>
              </a:rPr>
              <a:t>ELLE.com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b="1" dirty="0" smtClean="0">
                <a:solidFill>
                  <a:prstClr val="white"/>
                </a:solidFill>
                <a:latin typeface="Century Gothic" pitchFamily="34" charset="0"/>
                <a:ea typeface="微軟正黑體" pitchFamily="34" charset="-120"/>
                <a:cs typeface="Tahoma" pitchFamily="34" charset="0"/>
              </a:rPr>
              <a:t>Bazaar.com </a:t>
            </a:r>
          </a:p>
        </p:txBody>
      </p:sp>
      <p:sp>
        <p:nvSpPr>
          <p:cNvPr id="9" name="橢圓 8"/>
          <p:cNvSpPr/>
          <p:nvPr/>
        </p:nvSpPr>
        <p:spPr>
          <a:xfrm>
            <a:off x="4613275" y="185738"/>
            <a:ext cx="2222500" cy="2019300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zh-TW" sz="2600" b="1" dirty="0" smtClean="0">
              <a:solidFill>
                <a:prstClr val="white"/>
              </a:solidFill>
              <a:latin typeface="微軟正黑體" pitchFamily="34" charset="-120"/>
              <a:ea typeface="微軟正黑體" pitchFamily="34" charset="-120"/>
              <a:cs typeface="Tahoma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600" b="1" dirty="0" smtClean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  <a:cs typeface="Tahoma" pitchFamily="34" charset="0"/>
              </a:rPr>
              <a:t>電子雜誌</a:t>
            </a:r>
            <a:endParaRPr lang="en-US" altLang="zh-TW" sz="2600" b="1" dirty="0" smtClean="0">
              <a:solidFill>
                <a:prstClr val="white"/>
              </a:solidFill>
              <a:latin typeface="微軟正黑體" pitchFamily="34" charset="-120"/>
              <a:ea typeface="微軟正黑體" pitchFamily="34" charset="-120"/>
              <a:cs typeface="Tahoma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b="1" smtClean="0">
                <a:solidFill>
                  <a:prstClr val="white"/>
                </a:solidFill>
                <a:latin typeface="Century Gothic" pitchFamily="34" charset="0"/>
                <a:ea typeface="微軟正黑體" pitchFamily="34" charset="-120"/>
                <a:cs typeface="Tahoma" pitchFamily="34" charset="0"/>
              </a:rPr>
              <a:t>Hami     </a:t>
            </a:r>
            <a:r>
              <a:rPr lang="en-US" altLang="zh-TW" b="1" dirty="0" err="1" smtClean="0">
                <a:solidFill>
                  <a:prstClr val="white"/>
                </a:solidFill>
                <a:latin typeface="Century Gothic" pitchFamily="34" charset="0"/>
                <a:ea typeface="微軟正黑體" pitchFamily="34" charset="-120"/>
                <a:cs typeface="Tahoma" pitchFamily="34" charset="0"/>
              </a:rPr>
              <a:t>mybook</a:t>
            </a:r>
            <a:endParaRPr lang="en-US" altLang="zh-TW" b="1" dirty="0" smtClean="0">
              <a:solidFill>
                <a:prstClr val="white"/>
              </a:solidFill>
              <a:latin typeface="Century Gothic" pitchFamily="34" charset="0"/>
              <a:ea typeface="微軟正黑體" pitchFamily="34" charset="-120"/>
              <a:cs typeface="Tahoma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b="1" dirty="0" smtClean="0">
                <a:solidFill>
                  <a:prstClr val="white"/>
                </a:solidFill>
                <a:latin typeface="Century Gothic" pitchFamily="34" charset="0"/>
                <a:ea typeface="微軟正黑體" pitchFamily="34" charset="-120"/>
                <a:cs typeface="Tahoma" pitchFamily="34" charset="0"/>
              </a:rPr>
              <a:t>Apple store</a:t>
            </a:r>
          </a:p>
        </p:txBody>
      </p:sp>
      <p:sp>
        <p:nvSpPr>
          <p:cNvPr id="23" name="矩形 22"/>
          <p:cNvSpPr/>
          <p:nvPr/>
        </p:nvSpPr>
        <p:spPr>
          <a:xfrm>
            <a:off x="3136900" y="2697163"/>
            <a:ext cx="4003675" cy="1323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4000" dirty="0">
                <a:solidFill>
                  <a:srgbClr val="C0504D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啟動</a:t>
            </a:r>
            <a:r>
              <a:rPr kumimoji="1" lang="en-US" altLang="zh-TW" sz="4000" dirty="0">
                <a:solidFill>
                  <a:srgbClr val="C0504D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360</a:t>
            </a:r>
            <a:r>
              <a:rPr kumimoji="1" lang="zh-TW" altLang="en-US" sz="4000" dirty="0">
                <a:solidFill>
                  <a:srgbClr val="C0504D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〫</a:t>
            </a:r>
            <a:endParaRPr kumimoji="1" lang="en-US" altLang="zh-TW" sz="4000" dirty="0">
              <a:solidFill>
                <a:srgbClr val="C0504D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4000" dirty="0">
                <a:solidFill>
                  <a:srgbClr val="C0504D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時尚生活體驗！</a:t>
            </a:r>
            <a:endParaRPr kumimoji="1" lang="en-US" altLang="zh-TW" sz="4000" dirty="0">
              <a:solidFill>
                <a:srgbClr val="C0504D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5" name="橢圓 14"/>
          <p:cNvSpPr/>
          <p:nvPr/>
        </p:nvSpPr>
        <p:spPr>
          <a:xfrm>
            <a:off x="2555875" y="4611688"/>
            <a:ext cx="2178050" cy="2079625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28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活動</a:t>
            </a:r>
            <a:endParaRPr kumimoji="1" lang="en-US" altLang="zh-TW" sz="2800" b="1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zh-TW" sz="2800" b="1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b="1" dirty="0">
                <a:solidFill>
                  <a:prstClr val="white"/>
                </a:solidFill>
                <a:latin typeface="Century Gothic" panose="020B0502020202020204" pitchFamily="34" charset="0"/>
              </a:rPr>
              <a:t>Bazaar club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b="1" dirty="0">
                <a:solidFill>
                  <a:prstClr val="white"/>
                </a:solidFill>
                <a:latin typeface="Century Gothic" panose="020B0502020202020204" pitchFamily="34" charset="0"/>
              </a:rPr>
              <a:t>ELLE ru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zh-TW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橢圓 10"/>
          <p:cNvSpPr/>
          <p:nvPr/>
        </p:nvSpPr>
        <p:spPr>
          <a:xfrm>
            <a:off x="4859338" y="4857750"/>
            <a:ext cx="2316162" cy="2017713"/>
          </a:xfrm>
          <a:prstGeom prst="ellipse">
            <a:avLst/>
          </a:prstGeom>
          <a:gradFill flip="none" rotWithShape="1">
            <a:gsLst>
              <a:gs pos="0">
                <a:srgbClr val="C00000">
                  <a:shade val="30000"/>
                  <a:satMod val="115000"/>
                </a:srgbClr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800" b="1" dirty="0" smtClean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  <a:cs typeface="Tahoma" pitchFamily="34" charset="0"/>
              </a:rPr>
              <a:t>影音</a:t>
            </a:r>
            <a:endParaRPr lang="en-US" altLang="zh-TW" sz="2400" b="1" dirty="0" smtClean="0">
              <a:solidFill>
                <a:prstClr val="white"/>
              </a:solidFill>
              <a:latin typeface="Century Gothic" pitchFamily="34" charset="0"/>
              <a:ea typeface="微軟正黑體" pitchFamily="34" charset="-120"/>
              <a:cs typeface="Tahoma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zh-TW" b="1" dirty="0" smtClean="0">
              <a:solidFill>
                <a:prstClr val="white"/>
              </a:solidFill>
              <a:latin typeface="Century Gothic" pitchFamily="34" charset="0"/>
              <a:ea typeface="微軟正黑體" pitchFamily="34" charset="-120"/>
              <a:cs typeface="Tahoma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b="1" dirty="0" smtClean="0">
                <a:solidFill>
                  <a:prstClr val="white"/>
                </a:solidFill>
                <a:latin typeface="Century Gothic" pitchFamily="34" charset="0"/>
                <a:ea typeface="微軟正黑體" pitchFamily="34" charset="-120"/>
                <a:cs typeface="Tahoma" pitchFamily="34" charset="0"/>
              </a:rPr>
              <a:t>ELLE TV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b="1" dirty="0" smtClean="0">
                <a:solidFill>
                  <a:prstClr val="white"/>
                </a:solidFill>
                <a:latin typeface="Century Gothic" pitchFamily="34" charset="0"/>
                <a:ea typeface="微軟正黑體" pitchFamily="34" charset="-120"/>
                <a:cs typeface="Tahoma" pitchFamily="34" charset="0"/>
              </a:rPr>
              <a:t>Bazaar TV</a:t>
            </a:r>
            <a:endParaRPr lang="en-US" altLang="zh-TW" dirty="0" smtClean="0">
              <a:solidFill>
                <a:prstClr val="white"/>
              </a:solidFill>
              <a:latin typeface="Century Gothic" pitchFamily="34" charset="0"/>
              <a:ea typeface="微軟正黑體" pitchFamily="34" charset="-120"/>
              <a:cs typeface="Tahoma" pitchFamily="34" charset="0"/>
            </a:endParaRPr>
          </a:p>
        </p:txBody>
      </p:sp>
      <p:grpSp>
        <p:nvGrpSpPr>
          <p:cNvPr id="2" name="群組 1"/>
          <p:cNvGrpSpPr>
            <a:grpSpLocks/>
          </p:cNvGrpSpPr>
          <p:nvPr/>
        </p:nvGrpSpPr>
        <p:grpSpPr bwMode="auto">
          <a:xfrm>
            <a:off x="301625" y="436563"/>
            <a:ext cx="2336800" cy="4848225"/>
            <a:chOff x="450850" y="352425"/>
            <a:chExt cx="2336800" cy="4848225"/>
          </a:xfrm>
        </p:grpSpPr>
        <p:pic>
          <p:nvPicPr>
            <p:cNvPr id="3" name="Picture 29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 rot="558377">
              <a:off x="450850" y="352425"/>
              <a:ext cx="2016125" cy="2636837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Picture 21" descr="《Harper’s BAZAAR》國際中文版3月號  KAROLINA KURKOVA 超越維納斯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755650" y="2565400"/>
              <a:ext cx="2032000" cy="263525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橢圓 25"/>
          <p:cNvSpPr/>
          <p:nvPr/>
        </p:nvSpPr>
        <p:spPr>
          <a:xfrm>
            <a:off x="2279650" y="452438"/>
            <a:ext cx="2224088" cy="2019300"/>
          </a:xfrm>
          <a:prstGeom prst="ellipse">
            <a:avLst/>
          </a:prstGeom>
          <a:gradFill flip="none" rotWithShape="1">
            <a:gsLst>
              <a:gs pos="23000">
                <a:srgbClr val="7030A0"/>
              </a:gs>
              <a:gs pos="74000">
                <a:srgbClr val="7030A0"/>
              </a:gs>
              <a:gs pos="0">
                <a:schemeClr val="accent4">
                  <a:lumMod val="75000"/>
                </a:schemeClr>
              </a:gs>
              <a:gs pos="50000">
                <a:srgbClr val="7030A0"/>
              </a:gs>
              <a:gs pos="100000">
                <a:schemeClr val="accent4">
                  <a:lumMod val="9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600" b="1" dirty="0" smtClean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  <a:cs typeface="Tahoma" pitchFamily="34" charset="0"/>
              </a:rPr>
              <a:t>美安</a:t>
            </a:r>
            <a:endParaRPr lang="en-US" altLang="zh-TW" sz="2600" b="1" dirty="0" smtClean="0">
              <a:solidFill>
                <a:prstClr val="white"/>
              </a:solidFill>
              <a:latin typeface="微軟正黑體" pitchFamily="34" charset="-120"/>
              <a:ea typeface="微軟正黑體" pitchFamily="34" charset="-120"/>
              <a:cs typeface="Tahoma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zh-TW" sz="2400" b="1" dirty="0" smtClean="0">
              <a:solidFill>
                <a:prstClr val="white"/>
              </a:solidFill>
              <a:latin typeface="微軟正黑體" pitchFamily="34" charset="-120"/>
              <a:ea typeface="微軟正黑體" pitchFamily="34" charset="-120"/>
              <a:cs typeface="Tahoma" pitchFamily="34" charset="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TW" b="1" dirty="0" smtClean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  <a:cs typeface="Tahoma" pitchFamily="34" charset="0"/>
              </a:rPr>
              <a:t>Shop.com</a:t>
            </a:r>
            <a:endParaRPr lang="en-US" altLang="zh-TW" b="1" dirty="0" smtClean="0">
              <a:solidFill>
                <a:prstClr val="white"/>
              </a:solidFill>
              <a:latin typeface="Century Gothic" pitchFamily="34" charset="0"/>
              <a:ea typeface="微軟正黑體" pitchFamily="34" charset="-120"/>
              <a:cs typeface="Tahoma" pitchFamily="34" charset="0"/>
            </a:endParaRPr>
          </a:p>
        </p:txBody>
      </p:sp>
      <p:grpSp>
        <p:nvGrpSpPr>
          <p:cNvPr id="5" name="群組 4"/>
          <p:cNvGrpSpPr>
            <a:grpSpLocks/>
          </p:cNvGrpSpPr>
          <p:nvPr/>
        </p:nvGrpSpPr>
        <p:grpSpPr bwMode="auto">
          <a:xfrm>
            <a:off x="6813550" y="3429000"/>
            <a:ext cx="2154238" cy="2041525"/>
            <a:chOff x="6813551" y="3429000"/>
            <a:chExt cx="2154237" cy="2041525"/>
          </a:xfrm>
        </p:grpSpPr>
        <p:grpSp>
          <p:nvGrpSpPr>
            <p:cNvPr id="35853" name="群組 3"/>
            <p:cNvGrpSpPr>
              <a:grpSpLocks/>
            </p:cNvGrpSpPr>
            <p:nvPr/>
          </p:nvGrpSpPr>
          <p:grpSpPr bwMode="auto">
            <a:xfrm>
              <a:off x="6813551" y="3429000"/>
              <a:ext cx="2154237" cy="2041525"/>
              <a:chOff x="9144000" y="3490268"/>
              <a:chExt cx="2154237" cy="2041525"/>
            </a:xfrm>
          </p:grpSpPr>
          <p:sp>
            <p:nvSpPr>
              <p:cNvPr id="16" name="橢圓 15"/>
              <p:cNvSpPr/>
              <p:nvPr/>
            </p:nvSpPr>
            <p:spPr bwMode="auto">
              <a:xfrm>
                <a:off x="9144000" y="3490268"/>
                <a:ext cx="2154237" cy="2041525"/>
              </a:xfrm>
              <a:prstGeom prst="ellipse">
                <a:avLst/>
              </a:prstGeom>
              <a:gradFill flip="none" rotWithShape="1">
                <a:gsLst>
                  <a:gs pos="0">
                    <a:srgbClr val="C00000">
                      <a:shade val="30000"/>
                      <a:satMod val="115000"/>
                    </a:srgbClr>
                  </a:gs>
                  <a:gs pos="50000">
                    <a:srgbClr val="C00000">
                      <a:shade val="67500"/>
                      <a:satMod val="115000"/>
                    </a:srgbClr>
                  </a:gs>
                  <a:gs pos="100000">
                    <a:srgbClr val="C00000">
                      <a:shade val="100000"/>
                      <a:satMod val="115000"/>
                    </a:srgbClr>
                  </a:gs>
                </a:gsLst>
                <a:lin ang="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kumimoji="1" lang="en-US" altLang="zh-TW" dirty="0">
                  <a:solidFill>
                    <a:prstClr val="white"/>
                  </a:solidFill>
                  <a:latin typeface="Century Gothic" panose="020B0502020202020204" pitchFamily="34" charset="0"/>
                  <a:cs typeface="Tahoma"/>
                </a:endParaRPr>
              </a:p>
            </p:txBody>
          </p:sp>
          <p:sp>
            <p:nvSpPr>
              <p:cNvPr id="35858" name="矩形 7"/>
              <p:cNvSpPr>
                <a:spLocks noChangeArrowheads="1"/>
              </p:cNvSpPr>
              <p:nvPr/>
            </p:nvSpPr>
            <p:spPr bwMode="auto">
              <a:xfrm>
                <a:off x="9769474" y="3820479"/>
                <a:ext cx="903287" cy="5222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32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8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Font typeface="Arial" pitchFamily="34" charset="0"/>
                  <a:buChar char="•"/>
                  <a:defRPr sz="24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Font typeface="Arial" pitchFamily="34" charset="0"/>
                  <a:buChar char="–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»"/>
                  <a:defRPr sz="20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eaLnBrk="1" fontAlgn="base" hangingPunct="1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kumimoji="1" lang="zh-TW" altLang="en-US" sz="2800" b="1" smtClean="0">
                    <a:solidFill>
                      <a:prstClr val="white"/>
                    </a:solidFill>
                    <a:latin typeface="微軟正黑體" pitchFamily="34" charset="-120"/>
                    <a:ea typeface="微軟正黑體" pitchFamily="34" charset="-120"/>
                    <a:cs typeface="Tahoma" pitchFamily="34" charset="0"/>
                  </a:rPr>
                  <a:t>社群</a:t>
                </a:r>
                <a:endParaRPr kumimoji="1" lang="zh-TW" altLang="en-US" sz="2800" smtClean="0">
                  <a:solidFill>
                    <a:prstClr val="black"/>
                  </a:solidFill>
                  <a:latin typeface="微軟正黑體" pitchFamily="34" charset="-120"/>
                  <a:ea typeface="微軟正黑體" pitchFamily="34" charset="-120"/>
                  <a:cs typeface="Tahoma" pitchFamily="34" charset="0"/>
                </a:endParaRPr>
              </a:p>
            </p:txBody>
          </p:sp>
        </p:grpSp>
        <p:pic>
          <p:nvPicPr>
            <p:cNvPr id="35854" name="Picture 24" descr="「instagram png」的圖片搜尋結果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1699" y="4392427"/>
              <a:ext cx="408029" cy="4080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855" name="Picture 26" descr="「line png」的圖片搜尋結果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2399" y="4392427"/>
              <a:ext cx="398963" cy="398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856" name="Picture 28" descr="「facebook png」的圖片搜尋結果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43112" y="4355187"/>
              <a:ext cx="485403" cy="485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5852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438" y="5795963"/>
            <a:ext cx="739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28503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23" grpId="0"/>
      <p:bldP spid="15" grpId="0" animBg="1"/>
      <p:bldP spid="11" grpId="0" animBg="1"/>
      <p:bldP spid="26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92375"/>
            <a:ext cx="8329613" cy="436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4819" name="群組 5"/>
          <p:cNvGrpSpPr>
            <a:grpSpLocks/>
          </p:cNvGrpSpPr>
          <p:nvPr/>
        </p:nvGrpSpPr>
        <p:grpSpPr bwMode="auto">
          <a:xfrm>
            <a:off x="6661150" y="446088"/>
            <a:ext cx="2232025" cy="431800"/>
            <a:chOff x="3600881" y="4144879"/>
            <a:chExt cx="2231865" cy="432048"/>
          </a:xfrm>
        </p:grpSpPr>
        <p:sp>
          <p:nvSpPr>
            <p:cNvPr id="2" name="矩形 1"/>
            <p:cNvSpPr/>
            <p:nvPr/>
          </p:nvSpPr>
          <p:spPr>
            <a:xfrm>
              <a:off x="3600881" y="4144879"/>
              <a:ext cx="2231865" cy="432048"/>
            </a:xfrm>
            <a:prstGeom prst="rect">
              <a:avLst/>
            </a:prstGeom>
            <a:solidFill>
              <a:srgbClr val="002060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zh-TW" altLang="en-US">
                <a:solidFill>
                  <a:prstClr val="white"/>
                </a:solidFill>
              </a:endParaRPr>
            </a:p>
          </p:txBody>
        </p:sp>
        <p:sp>
          <p:nvSpPr>
            <p:cNvPr id="36876" name="矩形 2"/>
            <p:cNvSpPr>
              <a:spLocks noChangeArrowheads="1"/>
            </p:cNvSpPr>
            <p:nvPr/>
          </p:nvSpPr>
          <p:spPr bwMode="auto">
            <a:xfrm>
              <a:off x="3701049" y="4176132"/>
              <a:ext cx="2031528" cy="369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kumimoji="1" lang="zh-TW" altLang="en-US" sz="1800" b="1" smtClean="0">
                  <a:solidFill>
                    <a:prstClr val="white"/>
                  </a:solidFill>
                  <a:latin typeface="微軟正黑體" pitchFamily="34" charset="-120"/>
                  <a:ea typeface="微軟正黑體" pitchFamily="34" charset="-120"/>
                </a:rPr>
                <a:t>三重幸福水漾公園</a:t>
              </a:r>
              <a:endParaRPr kumimoji="1" lang="zh-TW" altLang="en-US" sz="1800" smtClean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endParaRPr>
            </a:p>
          </p:txBody>
        </p:sp>
      </p:grpSp>
      <p:grpSp>
        <p:nvGrpSpPr>
          <p:cNvPr id="4" name="群組 3"/>
          <p:cNvGrpSpPr>
            <a:grpSpLocks/>
          </p:cNvGrpSpPr>
          <p:nvPr/>
        </p:nvGrpSpPr>
        <p:grpSpPr bwMode="auto">
          <a:xfrm rot="825329">
            <a:off x="6275388" y="1674813"/>
            <a:ext cx="2887662" cy="3832225"/>
            <a:chOff x="6182987" y="-27954"/>
            <a:chExt cx="2961013" cy="3948540"/>
          </a:xfrm>
        </p:grpSpPr>
        <p:pic>
          <p:nvPicPr>
            <p:cNvPr id="36873" name="圖片 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2987" y="-27954"/>
              <a:ext cx="2961013" cy="39485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874" name="文字方塊 28"/>
            <p:cNvSpPr txBox="1">
              <a:spLocks noChangeArrowheads="1"/>
            </p:cNvSpPr>
            <p:nvPr/>
          </p:nvSpPr>
          <p:spPr bwMode="auto">
            <a:xfrm>
              <a:off x="6182987" y="3575540"/>
              <a:ext cx="2918773" cy="332351"/>
            </a:xfrm>
            <a:prstGeom prst="rect">
              <a:avLst/>
            </a:prstGeom>
            <a:solidFill>
              <a:schemeClr val="tx1">
                <a:alpha val="2901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zh-TW" altLang="en-US" sz="1800" b="1" smtClean="0">
                  <a:solidFill>
                    <a:prstClr val="white"/>
                  </a:solidFill>
                  <a:latin typeface="微軟正黑體" pitchFamily="34" charset="-120"/>
                  <a:ea typeface="微軟正黑體" pitchFamily="34" charset="-120"/>
                </a:rPr>
                <a:t>為愛而跑！流浪動物認養</a:t>
              </a:r>
              <a:endParaRPr lang="zh-TW" altLang="en-US" sz="1800" smtClean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endParaRPr>
            </a:p>
          </p:txBody>
        </p:sp>
      </p:grpSp>
      <p:sp>
        <p:nvSpPr>
          <p:cNvPr id="5" name="矩形 4"/>
          <p:cNvSpPr/>
          <p:nvPr/>
        </p:nvSpPr>
        <p:spPr>
          <a:xfrm>
            <a:off x="2346230" y="138385"/>
            <a:ext cx="4314002" cy="83099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4800" b="1" dirty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latin typeface="微軟正黑體" panose="020B0604030504040204" pitchFamily="34" charset="-120"/>
                <a:ea typeface="微軟正黑體" panose="020B0604030504040204" pitchFamily="34" charset="-120"/>
              </a:rPr>
              <a:t>5/13</a:t>
            </a:r>
            <a:r>
              <a:rPr kumimoji="1" lang="zh-TW" altLang="en-US" sz="2400" b="1" dirty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（六）</a:t>
            </a:r>
            <a:r>
              <a:rPr kumimoji="1" lang="en-US" altLang="zh-TW" sz="2400" b="1" dirty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latin typeface="微軟正黑體" panose="020B0604030504040204" pitchFamily="34" charset="-120"/>
                <a:ea typeface="微軟正黑體" panose="020B0604030504040204" pitchFamily="34" charset="-120"/>
              </a:rPr>
              <a:t>7AM-11AM</a:t>
            </a:r>
            <a:endParaRPr kumimoji="1" lang="zh-TW" altLang="en-US" sz="2400" b="1" dirty="0">
              <a:ln w="11430"/>
              <a:gradFill>
                <a:gsLst>
                  <a:gs pos="0">
                    <a:srgbClr val="C0504D">
                      <a:tint val="70000"/>
                      <a:satMod val="245000"/>
                    </a:srgbClr>
                  </a:gs>
                  <a:gs pos="75000">
                    <a:srgbClr val="C0504D">
                      <a:tint val="90000"/>
                      <a:shade val="60000"/>
                      <a:satMod val="240000"/>
                    </a:srgbClr>
                  </a:gs>
                  <a:gs pos="100000">
                    <a:srgbClr val="C0504D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687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438" y="5795963"/>
            <a:ext cx="739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4" name="矩形 40"/>
          <p:cNvSpPr>
            <a:spLocks noChangeArrowheads="1"/>
          </p:cNvSpPr>
          <p:nvPr/>
        </p:nvSpPr>
        <p:spPr bwMode="auto">
          <a:xfrm>
            <a:off x="2195513" y="1268413"/>
            <a:ext cx="5716587" cy="830262"/>
          </a:xfrm>
          <a:prstGeom prst="rect">
            <a:avLst/>
          </a:prstGeom>
          <a:solidFill>
            <a:schemeClr val="tx2">
              <a:lumMod val="75000"/>
              <a:alpha val="69000"/>
            </a:schemeClr>
          </a:solidFill>
          <a:ln>
            <a:noFill/>
          </a:ln>
        </p:spPr>
        <p:txBody>
          <a:bodyPr anchor="ctr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zh-TW" sz="2400" b="1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ELLE</a:t>
            </a:r>
            <a:r>
              <a:rPr kumimoji="0" lang="zh-TW" altLang="en-US" sz="2400" b="1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kumimoji="0" lang="en-US" altLang="zh-TW" sz="2400" b="1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X </a:t>
            </a:r>
            <a:r>
              <a:rPr kumimoji="0" lang="zh-TW" altLang="en-US" sz="2400" b="1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美安</a:t>
            </a:r>
            <a:endParaRPr kumimoji="0" lang="en-US" altLang="zh-TW" sz="2400" b="1" dirty="0" smtClean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zh-TW" sz="24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全新生活</a:t>
            </a:r>
            <a:r>
              <a:rPr lang="en-US" altLang="zh-TW" sz="24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™21</a:t>
            </a:r>
            <a:r>
              <a:rPr lang="zh-TW" altLang="zh-TW" sz="24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天挑戰</a:t>
            </a:r>
            <a:r>
              <a:rPr kumimoji="0" lang="zh-TW" altLang="en-US" sz="2400" b="1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</a:t>
            </a:r>
            <a:r>
              <a:rPr kumimoji="0" lang="zh-TW" altLang="en-US" sz="24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一同健康前行</a:t>
            </a:r>
            <a:r>
              <a:rPr kumimoji="0" lang="zh-TW" altLang="en-US" sz="2400" b="1" dirty="0" smtClean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！</a:t>
            </a:r>
            <a:endParaRPr kumimoji="0" lang="zh-TW" altLang="en-US" sz="2400" b="1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36872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700"/>
            <a:ext cx="2249488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366515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48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86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86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86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68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68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68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67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/>
          </p:cNvSpPr>
          <p:nvPr/>
        </p:nvSpPr>
        <p:spPr>
          <a:xfrm>
            <a:off x="51944" y="95120"/>
            <a:ext cx="9144000" cy="1139826"/>
          </a:xfrm>
          <a:prstGeom prst="rect">
            <a:avLst/>
          </a:prstGeom>
        </p:spPr>
        <p:txBody>
          <a:bodyPr/>
          <a:lstStyle>
            <a:lvl1pPr algn="ctr" defTabSz="1185185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zh-TW" altLang="en-US" sz="60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特殊推動優勢</a:t>
            </a:r>
            <a:endParaRPr lang="en-US" altLang="zh-TW" sz="6000" b="1" dirty="0" smtClean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2" name="群組 1"/>
          <p:cNvGrpSpPr/>
          <p:nvPr/>
        </p:nvGrpSpPr>
        <p:grpSpPr>
          <a:xfrm>
            <a:off x="1840794" y="1283659"/>
            <a:ext cx="2710082" cy="2395277"/>
            <a:chOff x="32298" y="1310563"/>
            <a:chExt cx="2155540" cy="3797213"/>
          </a:xfrm>
        </p:grpSpPr>
        <p:sp>
          <p:nvSpPr>
            <p:cNvPr id="9" name="_s1031"/>
            <p:cNvSpPr>
              <a:spLocks noChangeArrowheads="1"/>
            </p:cNvSpPr>
            <p:nvPr/>
          </p:nvSpPr>
          <p:spPr bwMode="auto">
            <a:xfrm>
              <a:off x="32298" y="1310563"/>
              <a:ext cx="2155540" cy="3797213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9525">
              <a:solidFill>
                <a:srgbClr val="FFFF99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>
              <a:lvl1pPr eaLnBrk="0" hangingPunct="0">
                <a:spcBef>
                  <a:spcPct val="20000"/>
                </a:spcBef>
                <a:buClr>
                  <a:schemeClr val="tx2"/>
                </a:buClr>
                <a:buFont typeface="Wingdings" pitchFamily="2" charset="2"/>
                <a:buChar char="§"/>
                <a:defRPr sz="2000">
                  <a:solidFill>
                    <a:schemeClr val="tx1"/>
                  </a:solidFill>
                  <a:latin typeface="Arial" pitchFamily="34" charset="0"/>
                  <a:ea typeface="微軟正黑體" pitchFamily="34" charset="-12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2"/>
                </a:buClr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ea typeface="微軟正黑體" pitchFamily="34" charset="-12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tx2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ea typeface="微軟正黑體" pitchFamily="34" charset="-12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微軟正黑體" pitchFamily="34" charset="-12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微軟正黑體" pitchFamily="34" charset="-12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微軟正黑體" pitchFamily="34" charset="-12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微軟正黑體" pitchFamily="34" charset="-12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微軟正黑體" pitchFamily="34" charset="-12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ea typeface="微軟正黑體" pitchFamily="34" charset="-12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endParaRPr kumimoji="1" lang="en-US" altLang="zh-TW" sz="3200" b="1" smtClean="0">
                <a:solidFill>
                  <a:srgbClr val="FFFFFF"/>
                </a:solidFill>
                <a:latin typeface="微軟正黑體" pitchFamily="34" charset="-120"/>
              </a:endParaRPr>
            </a:p>
          </p:txBody>
        </p:sp>
        <p:pic>
          <p:nvPicPr>
            <p:cNvPr id="10" name="Picture 1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43" y="3224977"/>
              <a:ext cx="524648" cy="1566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103" y="1502520"/>
              <a:ext cx="458065" cy="1566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1550" y="3209170"/>
              <a:ext cx="479586" cy="15824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7" name="Picture 20" descr="C:\Users\Julias\AppData\Local\Microsoft\Windows\Temporary Internet Files\Content.IE5\FU1JUQGN\MC900424198[1].w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88763">
            <a:off x="5583154" y="1834811"/>
            <a:ext cx="1689100" cy="1084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0" descr="C:\Users\Julias\AppData\Local\Microsoft\Windows\Temporary Internet Files\Content.IE5\FU1JUQGN\MC900424198[1].w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78066">
            <a:off x="5469303" y="2314247"/>
            <a:ext cx="1499116" cy="96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2"/>
          <p:cNvSpPr txBox="1">
            <a:spLocks/>
          </p:cNvSpPr>
          <p:nvPr/>
        </p:nvSpPr>
        <p:spPr>
          <a:xfrm>
            <a:off x="-28782" y="5781268"/>
            <a:ext cx="9144000" cy="685132"/>
          </a:xfrm>
          <a:prstGeom prst="rect">
            <a:avLst/>
          </a:prstGeom>
        </p:spPr>
        <p:txBody>
          <a:bodyPr/>
          <a:lstStyle>
            <a:lvl1pPr algn="ctr" defTabSz="1185185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zh-TW" altLang="en-US" sz="36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鼓勵消費 </a:t>
            </a:r>
            <a:r>
              <a:rPr lang="en-US" altLang="zh-TW" sz="36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 </a:t>
            </a:r>
            <a:r>
              <a:rPr lang="zh-TW" altLang="en-US" sz="3600" b="1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大家都</a:t>
            </a:r>
            <a:r>
              <a:rPr lang="zh-TW" altLang="en-US" sz="36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轉消費為收入</a:t>
            </a:r>
            <a:r>
              <a:rPr lang="en-US" altLang="zh-TW" sz="3600" b="1" dirty="0" smtClean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!!</a:t>
            </a:r>
          </a:p>
        </p:txBody>
      </p:sp>
      <p:sp>
        <p:nvSpPr>
          <p:cNvPr id="15" name="內容版面配置區 2"/>
          <p:cNvSpPr txBox="1">
            <a:spLocks/>
          </p:cNvSpPr>
          <p:nvPr/>
        </p:nvSpPr>
        <p:spPr>
          <a:xfrm>
            <a:off x="179513" y="3776785"/>
            <a:ext cx="8964488" cy="202847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5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1pPr>
            <a:lvl2pPr marL="501650" indent="-1825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2pPr>
            <a:lvl3pPr marL="685800" indent="-1825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3pPr>
            <a:lvl4pPr marL="914400" indent="-1825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4pPr>
            <a:lvl5pPr marL="1143000" indent="-1825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5pPr>
            <a:lvl6pPr marL="1600200" indent="-1825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6pPr>
            <a:lvl7pPr marL="2057400" indent="-1825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7pPr>
            <a:lvl8pPr marL="2514600" indent="-1825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8pPr>
            <a:lvl9pPr marL="2971800" indent="-1825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9pPr>
          </a:lstStyle>
          <a:p>
            <a:pPr marL="46037" indent="0" eaLnBrk="1" hangingPunct="1">
              <a:lnSpc>
                <a:spcPct val="40000"/>
              </a:lnSpc>
              <a:buNone/>
            </a:pPr>
            <a:endParaRPr kumimoji="0" lang="en-US" altLang="zh-TW" sz="3000" b="1" dirty="0">
              <a:solidFill>
                <a:srgbClr val="FFFF99"/>
              </a:solidFill>
              <a:latin typeface="微軟正黑體" pitchFamily="34" charset="-120"/>
            </a:endParaRPr>
          </a:p>
          <a:p>
            <a:pPr marL="46037" indent="0">
              <a:buNone/>
            </a:pPr>
            <a:r>
              <a:rPr lang="zh-TW" altLang="en-US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超連鎖</a:t>
            </a:r>
            <a:r>
              <a:rPr lang="en-US" altLang="zh-TW" sz="3000" b="1" baseline="30000" dirty="0">
                <a:solidFill>
                  <a:schemeClr val="bg1"/>
                </a:solidFill>
                <a:latin typeface="微軟正黑體" panose="020B0604030504040204" pitchFamily="34" charset="-120"/>
              </a:rPr>
              <a:t>®</a:t>
            </a:r>
            <a:r>
              <a:rPr lang="zh-TW" altLang="en-US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店主消費：自己獲得 </a:t>
            </a:r>
            <a:r>
              <a:rPr lang="en-US" altLang="zh-TW" sz="3000" b="1" dirty="0">
                <a:solidFill>
                  <a:schemeClr val="bg1"/>
                </a:solidFill>
                <a:latin typeface="微軟正黑體" panose="020B0604030504040204" pitchFamily="34" charset="-120"/>
              </a:rPr>
              <a:t>IBV</a:t>
            </a:r>
            <a:r>
              <a:rPr lang="zh-TW" altLang="en-US" sz="3000" b="1" dirty="0">
                <a:solidFill>
                  <a:schemeClr val="bg1"/>
                </a:solidFill>
                <a:latin typeface="微軟正黑體" panose="020B0604030504040204" pitchFamily="34" charset="-120"/>
              </a:rPr>
              <a:t>點數</a:t>
            </a:r>
            <a:r>
              <a:rPr lang="zh-TW" altLang="en-US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！</a:t>
            </a:r>
            <a:endParaRPr lang="en-US" altLang="zh-TW" sz="3000" b="1" dirty="0">
              <a:solidFill>
                <a:schemeClr val="bg1"/>
              </a:solidFill>
              <a:latin typeface="微軟正黑體" panose="020B0604030504040204" pitchFamily="34" charset="-120"/>
            </a:endParaRPr>
          </a:p>
          <a:p>
            <a:pPr marL="46037" indent="0">
              <a:buNone/>
            </a:pPr>
            <a:r>
              <a:rPr lang="zh-TW" altLang="en-US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優惠顧客消費：</a:t>
            </a:r>
            <a:r>
              <a:rPr lang="en-US" altLang="zh-TW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1. </a:t>
            </a:r>
            <a:r>
              <a:rPr lang="zh-TW" altLang="en-US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超</a:t>
            </a:r>
            <a:r>
              <a:rPr lang="zh-TW" altLang="en-US" sz="3000" b="1" dirty="0">
                <a:solidFill>
                  <a:schemeClr val="bg1"/>
                </a:solidFill>
                <a:latin typeface="微軟正黑體" panose="020B0604030504040204" pitchFamily="34" charset="-120"/>
              </a:rPr>
              <a:t>連鎖</a:t>
            </a:r>
            <a:r>
              <a:rPr lang="en-US" altLang="zh-TW" sz="3000" b="1" baseline="30000" dirty="0">
                <a:solidFill>
                  <a:schemeClr val="bg1"/>
                </a:solidFill>
                <a:latin typeface="微軟正黑體" panose="020B0604030504040204" pitchFamily="34" charset="-120"/>
              </a:rPr>
              <a:t>®</a:t>
            </a:r>
            <a:r>
              <a:rPr lang="zh-TW" altLang="en-US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店主也可以獲得</a:t>
            </a:r>
            <a:r>
              <a:rPr lang="en-US" altLang="zh-TW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IBV</a:t>
            </a:r>
            <a:r>
              <a:rPr lang="zh-TW" altLang="en-US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點數</a:t>
            </a:r>
            <a:r>
              <a:rPr lang="en-US" altLang="zh-TW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/>
            </a:r>
            <a:br>
              <a:rPr lang="en-US" altLang="zh-TW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</a:br>
            <a:r>
              <a:rPr lang="en-US" altLang="zh-TW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			2. </a:t>
            </a:r>
            <a:r>
              <a:rPr lang="zh-TW" altLang="en-US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獲得</a:t>
            </a:r>
            <a:r>
              <a:rPr lang="zh-TW" altLang="en-US" sz="3000" b="1" dirty="0">
                <a:solidFill>
                  <a:schemeClr val="bg1"/>
                </a:solidFill>
                <a:latin typeface="微軟正黑體" panose="020B0604030504040204" pitchFamily="34" charset="-120"/>
              </a:rPr>
              <a:t>現金回饋點數</a:t>
            </a:r>
            <a:r>
              <a:rPr lang="zh-TW" altLang="en-US" sz="3000" b="1" dirty="0" smtClean="0">
                <a:solidFill>
                  <a:schemeClr val="bg1"/>
                </a:solidFill>
                <a:latin typeface="微軟正黑體" panose="020B0604030504040204" pitchFamily="34" charset="-120"/>
              </a:rPr>
              <a:t>！</a:t>
            </a:r>
            <a:endParaRPr kumimoji="0" lang="zh-TW" altLang="en-US" sz="3000" dirty="0">
              <a:solidFill>
                <a:srgbClr val="FFFF99"/>
              </a:solidFill>
              <a:ea typeface="Helvetica Light"/>
            </a:endParaRPr>
          </a:p>
          <a:p>
            <a:pPr marL="46037" indent="0" eaLnBrk="1" hangingPunct="1">
              <a:lnSpc>
                <a:spcPct val="40000"/>
              </a:lnSpc>
              <a:buNone/>
            </a:pPr>
            <a:endParaRPr lang="zh-TW" altLang="zh-TW" sz="3000" b="0" dirty="0">
              <a:ea typeface="Helvetica Light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3027131" y="1687708"/>
            <a:ext cx="11079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24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己買</a:t>
            </a:r>
            <a:endParaRPr lang="zh-TW" altLang="en-US" sz="2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3459886" y="2795401"/>
            <a:ext cx="11079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24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別人買</a:t>
            </a:r>
            <a:endParaRPr lang="zh-TW" altLang="en-US" sz="24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" name="向右箭號 2"/>
          <p:cNvSpPr/>
          <p:nvPr/>
        </p:nvSpPr>
        <p:spPr>
          <a:xfrm>
            <a:off x="4089021" y="1948536"/>
            <a:ext cx="1145471" cy="85681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69766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圓角矩形圖說文字 7"/>
          <p:cNvSpPr/>
          <p:nvPr/>
        </p:nvSpPr>
        <p:spPr>
          <a:xfrm>
            <a:off x="365125" y="835025"/>
            <a:ext cx="1549400" cy="790575"/>
          </a:xfrm>
          <a:prstGeom prst="wedgeRoundRectCallout">
            <a:avLst>
              <a:gd name="adj1" fmla="val -772"/>
              <a:gd name="adj2" fmla="val 75569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zh-TW" altLang="en-US">
              <a:solidFill>
                <a:prstClr val="white"/>
              </a:solidFill>
            </a:endParaRPr>
          </a:p>
        </p:txBody>
      </p:sp>
      <p:pic>
        <p:nvPicPr>
          <p:cNvPr id="37891" name="Picture 19" descr="C:\Users\adriana.chen\Desktop\之\圖庫\新增資料夾\bd57832d412125ab5a60bd1df7148325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4113" y="-26988"/>
            <a:ext cx="3059112" cy="4886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Rectangle 3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kumimoji="1" lang="zh-TW" altLang="en-US" sz="2000" smtClean="0">
              <a:solidFill>
                <a:prstClr val="black"/>
              </a:solidFill>
            </a:endParaRPr>
          </a:p>
        </p:txBody>
      </p:sp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46050" cy="158750"/>
          </a:xfrm>
          <a:prstGeom prst="rect">
            <a:avLst/>
          </a:prstGeom>
          <a:solidFill>
            <a:schemeClr val="bg1"/>
          </a:solidFill>
          <a:ln w="9525"/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endParaRPr lang="en-GB" sz="1100" dirty="0">
              <a:solidFill>
                <a:srgbClr val="000000"/>
              </a:solidFill>
              <a:latin typeface="Tahoma"/>
              <a:cs typeface="Tahoma"/>
              <a:sym typeface="Tahoma"/>
            </a:endParaRPr>
          </a:p>
        </p:txBody>
      </p:sp>
      <p:sp>
        <p:nvSpPr>
          <p:cNvPr id="35845" name="文字方塊 3"/>
          <p:cNvSpPr txBox="1">
            <a:spLocks noChangeArrowheads="1"/>
          </p:cNvSpPr>
          <p:nvPr/>
        </p:nvSpPr>
        <p:spPr bwMode="auto">
          <a:xfrm>
            <a:off x="2757488" y="347663"/>
            <a:ext cx="3095625" cy="52228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zh-TW" altLang="en-US" sz="2800" b="1" dirty="0" smtClean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</a:rPr>
              <a:t>美安會員獨家專案</a:t>
            </a:r>
          </a:p>
        </p:txBody>
      </p:sp>
      <p:sp>
        <p:nvSpPr>
          <p:cNvPr id="35847" name="文字方塊 3"/>
          <p:cNvSpPr txBox="1">
            <a:spLocks noChangeArrowheads="1"/>
          </p:cNvSpPr>
          <p:nvPr/>
        </p:nvSpPr>
        <p:spPr bwMode="auto">
          <a:xfrm>
            <a:off x="365125" y="1646238"/>
            <a:ext cx="36703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kumimoji="1" lang="en-US" altLang="zh-TW" sz="4800" b="1" smtClean="0">
                <a:solidFill>
                  <a:prstClr val="black"/>
                </a:solidFill>
                <a:latin typeface="Arial" pitchFamily="34" charset="0"/>
                <a:ea typeface="微軟正黑體" pitchFamily="34" charset="-120"/>
                <a:cs typeface="Arial" pitchFamily="34" charset="0"/>
              </a:rPr>
              <a:t>9</a:t>
            </a:r>
            <a:r>
              <a:rPr kumimoji="1" lang="zh-TW" altLang="en-US" sz="48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  <a:cs typeface="Arial" pitchFamily="34" charset="0"/>
              </a:rPr>
              <a:t>期</a:t>
            </a:r>
            <a:r>
              <a:rPr kumimoji="1" lang="zh-TW" altLang="en-US" sz="2400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  <a:cs typeface="Arial" pitchFamily="34" charset="0"/>
              </a:rPr>
              <a:t>訂閱超值優惠價</a:t>
            </a:r>
            <a:endParaRPr lang="zh-TW" altLang="en-US" sz="2400" smtClean="0">
              <a:solidFill>
                <a:prstClr val="black"/>
              </a:solidFill>
              <a:latin typeface="KaiTi" pitchFamily="49" charset="-122"/>
              <a:ea typeface="KaiTi" pitchFamily="49" charset="-122"/>
              <a:cs typeface="Arial" pitchFamily="34" charset="0"/>
            </a:endParaRPr>
          </a:p>
        </p:txBody>
      </p:sp>
      <p:sp>
        <p:nvSpPr>
          <p:cNvPr id="2" name="文字方塊 1"/>
          <p:cNvSpPr txBox="1"/>
          <p:nvPr/>
        </p:nvSpPr>
        <p:spPr bwMode="auto">
          <a:xfrm rot="21078926">
            <a:off x="3890963" y="1871663"/>
            <a:ext cx="2528887" cy="708025"/>
          </a:xfrm>
          <a:prstGeom prst="round1Rect">
            <a:avLst>
              <a:gd name="adj" fmla="val 0"/>
            </a:avLst>
          </a:prstGeom>
          <a:solidFill>
            <a:srgbClr val="C00000"/>
          </a:solidFill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zh-TW" sz="4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微軟正黑體" pitchFamily="34" charset="-120"/>
                <a:cs typeface="Arial" charset="0"/>
              </a:rPr>
              <a:t>$2,599</a:t>
            </a:r>
          </a:p>
        </p:txBody>
      </p:sp>
      <p:pic>
        <p:nvPicPr>
          <p:cNvPr id="3789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63" y="422275"/>
            <a:ext cx="2409825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6" name="Picture 5" descr="Y:\02-LOGO+簡介+形象圖\01_LOGO檔案\ELLE\ELL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3575" y="825500"/>
            <a:ext cx="1462088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7" name="Picture 3" descr="Y:\02-LOGO+簡介+形象圖\01_LOGO檔案\各刊logo集合\各刊logo集合-01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9288" y="906463"/>
            <a:ext cx="2257425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76" name="文字方塊 6"/>
          <p:cNvSpPr txBox="1">
            <a:spLocks noChangeArrowheads="1"/>
          </p:cNvSpPr>
          <p:nvPr/>
        </p:nvSpPr>
        <p:spPr bwMode="auto">
          <a:xfrm>
            <a:off x="549275" y="979488"/>
            <a:ext cx="2728913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kumimoji="1" lang="zh-TW" altLang="en-US" sz="28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方案</a:t>
            </a:r>
            <a:r>
              <a:rPr kumimoji="1" lang="en-US" altLang="zh-TW" sz="28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A</a:t>
            </a:r>
            <a:endParaRPr kumimoji="1" lang="zh-TW" altLang="en-US" sz="2800" b="1" smtClean="0">
              <a:solidFill>
                <a:prstClr val="black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grpSp>
        <p:nvGrpSpPr>
          <p:cNvPr id="7" name="群組 6"/>
          <p:cNvGrpSpPr>
            <a:grpSpLocks/>
          </p:cNvGrpSpPr>
          <p:nvPr/>
        </p:nvGrpSpPr>
        <p:grpSpPr bwMode="auto">
          <a:xfrm>
            <a:off x="3605213" y="855663"/>
            <a:ext cx="1019175" cy="847725"/>
            <a:chOff x="3105320" y="2808553"/>
            <a:chExt cx="1018871" cy="847192"/>
          </a:xfrm>
        </p:grpSpPr>
        <p:sp>
          <p:nvSpPr>
            <p:cNvPr id="5" name="橢圓 4"/>
            <p:cNvSpPr/>
            <p:nvPr/>
          </p:nvSpPr>
          <p:spPr>
            <a:xfrm>
              <a:off x="3105320" y="2808553"/>
              <a:ext cx="847472" cy="847192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zh-TW" altLang="en-US">
                <a:solidFill>
                  <a:prstClr val="white"/>
                </a:solidFill>
              </a:endParaRPr>
            </a:p>
          </p:txBody>
        </p:sp>
        <p:sp>
          <p:nvSpPr>
            <p:cNvPr id="37920" name="文字方塊 7"/>
            <p:cNvSpPr txBox="1">
              <a:spLocks noChangeArrowheads="1"/>
            </p:cNvSpPr>
            <p:nvPr/>
          </p:nvSpPr>
          <p:spPr bwMode="auto">
            <a:xfrm>
              <a:off x="3116128" y="2920512"/>
              <a:ext cx="1008063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kumimoji="1" lang="en-US" altLang="zh-TW" b="1" smtClean="0">
                  <a:solidFill>
                    <a:prstClr val="white"/>
                  </a:solidFill>
                  <a:latin typeface="Arial" pitchFamily="34" charset="0"/>
                </a:rPr>
                <a:t>OR</a:t>
              </a:r>
              <a:endParaRPr kumimoji="1" lang="zh-TW" altLang="en-US" b="1" smtClean="0">
                <a:solidFill>
                  <a:prstClr val="white"/>
                </a:solidFill>
                <a:latin typeface="Arial" pitchFamily="34" charset="0"/>
              </a:endParaRPr>
            </a:p>
          </p:txBody>
        </p:sp>
      </p:grpSp>
      <p:pic>
        <p:nvPicPr>
          <p:cNvPr id="37902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438" y="5795963"/>
            <a:ext cx="739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Box 5"/>
          <p:cNvSpPr txBox="1">
            <a:spLocks noChangeArrowheads="1"/>
          </p:cNvSpPr>
          <p:nvPr/>
        </p:nvSpPr>
        <p:spPr bwMode="auto">
          <a:xfrm>
            <a:off x="365125" y="2392363"/>
            <a:ext cx="5818188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lnSpc>
                <a:spcPct val="144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kumimoji="1" lang="zh-TW" altLang="en-US" sz="2400" b="1" smtClean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</a:rPr>
              <a:t>立即獲得：</a:t>
            </a:r>
            <a:endParaRPr kumimoji="1" lang="en-US" altLang="zh-TW" sz="2400" b="1" smtClean="0">
              <a:solidFill>
                <a:srgbClr val="000000"/>
              </a:solidFill>
              <a:latin typeface="微軟正黑體" pitchFamily="34" charset="-120"/>
              <a:ea typeface="微軟正黑體" pitchFamily="34" charset="-120"/>
            </a:endParaRPr>
          </a:p>
          <a:p>
            <a:pPr eaLnBrk="1" fontAlgn="base" hangingPunct="1">
              <a:lnSpc>
                <a:spcPct val="144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kumimoji="1" lang="en-US" altLang="zh-TW" sz="2000" b="1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20</a:t>
            </a:r>
            <a:r>
              <a:rPr kumimoji="1" lang="zh-TW" altLang="en-US" sz="2000" b="1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吋硬殼飛機輪登機箱</a:t>
            </a:r>
          </a:p>
        </p:txBody>
      </p:sp>
      <p:sp>
        <p:nvSpPr>
          <p:cNvPr id="4" name="矩形 3"/>
          <p:cNvSpPr>
            <a:spLocks noChangeArrowheads="1"/>
          </p:cNvSpPr>
          <p:nvPr/>
        </p:nvSpPr>
        <p:spPr bwMode="auto">
          <a:xfrm>
            <a:off x="2973388" y="3005138"/>
            <a:ext cx="31591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kumimoji="1" lang="en-US" altLang="zh-TW" sz="2000" b="1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+</a:t>
            </a:r>
            <a:r>
              <a:rPr kumimoji="1" lang="zh-TW" altLang="en-US" sz="2000" b="1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 美安專屬旅行周邊</a:t>
            </a:r>
            <a:r>
              <a:rPr kumimoji="1" lang="en-US" altLang="zh-TW" sz="2000" b="1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4</a:t>
            </a:r>
            <a:r>
              <a:rPr kumimoji="1" lang="zh-TW" altLang="en-US" sz="2000" b="1" smtClean="0">
                <a:solidFill>
                  <a:srgbClr val="C00000"/>
                </a:solidFill>
                <a:latin typeface="微軟正黑體" pitchFamily="34" charset="-120"/>
                <a:ea typeface="微軟正黑體" pitchFamily="34" charset="-120"/>
              </a:rPr>
              <a:t>件組</a:t>
            </a:r>
            <a:endParaRPr kumimoji="1" lang="zh-TW" altLang="en-US" sz="2000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0" name="十字形 29"/>
          <p:cNvSpPr/>
          <p:nvPr/>
        </p:nvSpPr>
        <p:spPr>
          <a:xfrm>
            <a:off x="2473325" y="5065713"/>
            <a:ext cx="311150" cy="309562"/>
          </a:xfrm>
          <a:prstGeom prst="plus">
            <a:avLst>
              <a:gd name="adj" fmla="val 39376"/>
            </a:avLst>
          </a:prstGeom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zh-TW" altLang="en-US">
              <a:solidFill>
                <a:prstClr val="white"/>
              </a:solidFill>
            </a:endParaRPr>
          </a:p>
        </p:txBody>
      </p:sp>
      <p:sp>
        <p:nvSpPr>
          <p:cNvPr id="31" name="文字方塊 30"/>
          <p:cNvSpPr txBox="1">
            <a:spLocks noChangeArrowheads="1"/>
          </p:cNvSpPr>
          <p:nvPr/>
        </p:nvSpPr>
        <p:spPr bwMode="auto">
          <a:xfrm>
            <a:off x="493713" y="3357563"/>
            <a:ext cx="59483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kumimoji="1" lang="en-US" altLang="zh-TW" sz="14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4</a:t>
            </a:r>
            <a:r>
              <a:rPr kumimoji="1" lang="zh-TW" altLang="en-US" sz="14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件組含：摺疊式旅行袋</a:t>
            </a:r>
            <a:r>
              <a:rPr kumimoji="1" lang="en-US" altLang="zh-TW" sz="14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+</a:t>
            </a:r>
            <a:r>
              <a:rPr kumimoji="1" lang="zh-TW" altLang="en-US" sz="1400" b="1" smtClean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</a:rPr>
              <a:t>風格貼紙組</a:t>
            </a:r>
            <a:r>
              <a:rPr kumimoji="1" lang="en-US" altLang="zh-TW" sz="1400" b="1" smtClean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</a:rPr>
              <a:t>+</a:t>
            </a:r>
            <a:r>
              <a:rPr kumimoji="1" lang="zh-TW" altLang="en-US" sz="1400" b="1" smtClean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</a:rPr>
              <a:t>行李綁帶</a:t>
            </a:r>
            <a:r>
              <a:rPr kumimoji="1" lang="en-US" altLang="zh-TW" sz="1400" b="1" smtClean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</a:rPr>
              <a:t>+</a:t>
            </a:r>
            <a:r>
              <a:rPr kumimoji="1" lang="zh-TW" altLang="en-US" sz="1400" b="1" smtClean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</a:rPr>
              <a:t>專屬</a:t>
            </a:r>
            <a:r>
              <a:rPr kumimoji="1" lang="zh-TW" altLang="en-US" sz="14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保護套</a:t>
            </a:r>
            <a:endParaRPr kumimoji="1" lang="zh-TW" altLang="en-US" sz="1400" b="1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122238" y="6216650"/>
            <a:ext cx="4006850" cy="5048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2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立即享有現金回饋 </a:t>
            </a:r>
            <a:r>
              <a:rPr kumimoji="1" lang="en-US" altLang="zh-TW" sz="2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7% + 6% IBV</a:t>
            </a:r>
            <a:endParaRPr kumimoji="1" lang="zh-TW" altLang="en-US" sz="20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grpSp>
        <p:nvGrpSpPr>
          <p:cNvPr id="9" name="群組 8"/>
          <p:cNvGrpSpPr>
            <a:grpSpLocks/>
          </p:cNvGrpSpPr>
          <p:nvPr/>
        </p:nvGrpSpPr>
        <p:grpSpPr bwMode="auto">
          <a:xfrm>
            <a:off x="-38100" y="3382963"/>
            <a:ext cx="2665413" cy="2921000"/>
            <a:chOff x="-38100" y="3382963"/>
            <a:chExt cx="2665413" cy="2921000"/>
          </a:xfrm>
        </p:grpSpPr>
        <p:pic>
          <p:nvPicPr>
            <p:cNvPr id="37917" name="圖片 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8100" y="3382963"/>
              <a:ext cx="1792288" cy="2687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918" name="圖片 2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325" y="3405188"/>
              <a:ext cx="1931988" cy="2898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" name="群組 5"/>
          <p:cNvGrpSpPr>
            <a:grpSpLocks/>
          </p:cNvGrpSpPr>
          <p:nvPr/>
        </p:nvGrpSpPr>
        <p:grpSpPr bwMode="auto">
          <a:xfrm>
            <a:off x="2424113" y="2992438"/>
            <a:ext cx="6746875" cy="4238625"/>
            <a:chOff x="2424113" y="2992438"/>
            <a:chExt cx="6746875" cy="4238625"/>
          </a:xfrm>
        </p:grpSpPr>
        <p:pic>
          <p:nvPicPr>
            <p:cNvPr id="37910" name="圖片 12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1213" y="4076700"/>
              <a:ext cx="2043112" cy="306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7911" name="群組 5"/>
            <p:cNvGrpSpPr>
              <a:grpSpLocks/>
            </p:cNvGrpSpPr>
            <p:nvPr/>
          </p:nvGrpSpPr>
          <p:grpSpPr bwMode="auto">
            <a:xfrm>
              <a:off x="2424113" y="2992438"/>
              <a:ext cx="6746875" cy="4238625"/>
              <a:chOff x="2424113" y="2992438"/>
              <a:chExt cx="6746875" cy="4238625"/>
            </a:xfrm>
          </p:grpSpPr>
          <p:pic>
            <p:nvPicPr>
              <p:cNvPr id="37913" name="圖片 11"/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24113" y="3797300"/>
                <a:ext cx="2586037" cy="17240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914" name="圖片 13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21313" y="4078288"/>
                <a:ext cx="2103437" cy="31527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915" name="圖片 3"/>
              <p:cNvPicPr>
                <a:picLocks noChangeAspect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10150" y="2992438"/>
                <a:ext cx="2754313" cy="18367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916" name="圖片 5"/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19900" y="4537075"/>
                <a:ext cx="2351088" cy="15684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37912" name="圖片 9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0338" y="4822825"/>
              <a:ext cx="1271587" cy="847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5112825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58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58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58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58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58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58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58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58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58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68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68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68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 nodeType="clickPar">
                      <p:stCondLst>
                        <p:cond delay="indefinite"/>
                      </p:stCondLst>
                      <p:childTnLst>
                        <p:par>
                          <p:cTn id="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 nodeType="clickPar">
                      <p:stCondLst>
                        <p:cond delay="indefinite"/>
                      </p:stCondLst>
                      <p:childTnLst>
                        <p:par>
                          <p:cTn id="7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35847" grpId="0"/>
      <p:bldP spid="2" grpId="0" animBg="1"/>
      <p:bldP spid="36876" grpId="0"/>
      <p:bldP spid="17" grpId="0"/>
      <p:bldP spid="4" grpId="0"/>
      <p:bldP spid="30" grpId="0" animBg="1"/>
      <p:bldP spid="31" grpId="0"/>
      <p:bldP spid="32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2" descr="C:\Users\adriana.chen\Desktop\之\圖庫\新增資料夾\f4f75b08d58ed1c0ef8da650861b2fad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" y="1468438"/>
            <a:ext cx="5372100" cy="537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5" name="Picture 20" descr="C:\Users\adriana.chen\Desktop\之\圖庫\新增資料夾\5ce3e9ec41159550288c4dfe0afc2eb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71" b="29585"/>
          <a:stretch>
            <a:fillRect/>
          </a:stretch>
        </p:blipFill>
        <p:spPr bwMode="auto">
          <a:xfrm>
            <a:off x="6958013" y="0"/>
            <a:ext cx="2108200" cy="172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5470">
            <a:off x="4848225" y="1730375"/>
            <a:ext cx="4221163" cy="452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2" name="文字方塊 5"/>
          <p:cNvSpPr txBox="1">
            <a:spLocks noChangeArrowheads="1"/>
          </p:cNvSpPr>
          <p:nvPr/>
        </p:nvSpPr>
        <p:spPr bwMode="auto">
          <a:xfrm>
            <a:off x="684213" y="4584700"/>
            <a:ext cx="4321175" cy="644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TW" sz="1400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• </a:t>
            </a:r>
            <a:r>
              <a:rPr lang="zh-TW" altLang="en-US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搭配手機就是個人專屬音箱！ </a:t>
            </a:r>
            <a:br>
              <a:rPr lang="zh-TW" altLang="en-US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</a:br>
            <a:r>
              <a:rPr lang="en-US" altLang="zh-TW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• </a:t>
            </a:r>
            <a:r>
              <a:rPr lang="zh-TW" altLang="en-US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搭配電腦就是桌上立體音效喇叭！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0" y="2284413"/>
            <a:ext cx="9144000" cy="173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lnSpc>
                <a:spcPct val="144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24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微軟正黑體" pitchFamily="34" charset="-120"/>
              </a:rPr>
              <a:t>        </a:t>
            </a:r>
            <a:r>
              <a:rPr kumimoji="1" lang="zh-TW" altLang="en-US" sz="2400" b="1" dirty="0">
                <a:solidFill>
                  <a:srgbClr val="C00000"/>
                </a:solidFill>
                <a:latin typeface="Arial" charset="0"/>
                <a:ea typeface="微軟正黑體" pitchFamily="34" charset="-120"/>
              </a:rPr>
              <a:t>    </a:t>
            </a:r>
            <a:r>
              <a:rPr kumimoji="1" lang="en-US" altLang="zh-TW" sz="2400" b="1" dirty="0">
                <a:solidFill>
                  <a:srgbClr val="C00000"/>
                </a:solidFill>
                <a:latin typeface="Arial" charset="0"/>
                <a:ea typeface="微軟正黑體" pitchFamily="34" charset="-120"/>
              </a:rPr>
              <a:t>20</a:t>
            </a:r>
            <a:r>
              <a:rPr kumimoji="1" lang="zh-TW" altLang="en-US" sz="2400" b="1" dirty="0">
                <a:solidFill>
                  <a:srgbClr val="C00000"/>
                </a:solidFill>
                <a:latin typeface="Arial" charset="0"/>
                <a:ea typeface="微軟正黑體" pitchFamily="34" charset="-120"/>
              </a:rPr>
              <a:t>吋硬殼飛機輪登機箱 </a:t>
            </a:r>
            <a:endParaRPr kumimoji="1" lang="en-US" altLang="zh-TW" sz="2400" b="1" dirty="0">
              <a:solidFill>
                <a:srgbClr val="C00000"/>
              </a:solidFill>
              <a:latin typeface="Arial" charset="0"/>
              <a:ea typeface="微軟正黑體" pitchFamily="34" charset="-120"/>
            </a:endParaRPr>
          </a:p>
          <a:p>
            <a:pPr fontAlgn="base">
              <a:lnSpc>
                <a:spcPct val="144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2400" b="1" dirty="0">
                <a:solidFill>
                  <a:srgbClr val="C00000"/>
                </a:solidFill>
                <a:latin typeface="Arial" charset="0"/>
                <a:ea typeface="微軟正黑體" pitchFamily="34" charset="-120"/>
              </a:rPr>
              <a:t>        + </a:t>
            </a:r>
            <a:r>
              <a:rPr kumimoji="1" lang="zh-TW" altLang="en-US" sz="2400" b="1" dirty="0">
                <a:solidFill>
                  <a:srgbClr val="C00000"/>
                </a:solidFill>
                <a:latin typeface="Arial" charset="0"/>
                <a:ea typeface="微軟正黑體" pitchFamily="34" charset="-120"/>
              </a:rPr>
              <a:t>美安專屬旅行周邊</a:t>
            </a:r>
            <a:r>
              <a:rPr kumimoji="1" lang="en-US" altLang="zh-TW" sz="2400" b="1" dirty="0">
                <a:solidFill>
                  <a:srgbClr val="C00000"/>
                </a:solidFill>
                <a:latin typeface="Arial" charset="0"/>
                <a:ea typeface="微軟正黑體" pitchFamily="34" charset="-120"/>
              </a:rPr>
              <a:t>4</a:t>
            </a:r>
            <a:r>
              <a:rPr kumimoji="1" lang="zh-TW" altLang="en-US" sz="2400" b="1" dirty="0">
                <a:solidFill>
                  <a:srgbClr val="C00000"/>
                </a:solidFill>
                <a:latin typeface="Arial" charset="0"/>
                <a:ea typeface="微軟正黑體" pitchFamily="34" charset="-120"/>
              </a:rPr>
              <a:t>件組</a:t>
            </a:r>
            <a:endParaRPr kumimoji="1" lang="en-US" altLang="zh-TW" sz="4000" b="1" dirty="0">
              <a:solidFill>
                <a:srgbClr val="C00000"/>
              </a:solidFill>
              <a:latin typeface="Arial" charset="0"/>
              <a:ea typeface="微軟正黑體" pitchFamily="34" charset="-120"/>
            </a:endParaRPr>
          </a:p>
        </p:txBody>
      </p:sp>
      <p:pic>
        <p:nvPicPr>
          <p:cNvPr id="3891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438" y="5795963"/>
            <a:ext cx="739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圓角矩形圖說文字 10"/>
          <p:cNvSpPr/>
          <p:nvPr/>
        </p:nvSpPr>
        <p:spPr>
          <a:xfrm>
            <a:off x="125413" y="125413"/>
            <a:ext cx="1549400" cy="792162"/>
          </a:xfrm>
          <a:prstGeom prst="wedgeRoundRectCallout">
            <a:avLst>
              <a:gd name="adj1" fmla="val -772"/>
              <a:gd name="adj2" fmla="val 75569"/>
              <a:gd name="adj3" fmla="val 16667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2800" b="1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方案</a:t>
            </a:r>
            <a:r>
              <a:rPr kumimoji="1" lang="en-US" altLang="zh-TW" sz="2800" b="1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B</a:t>
            </a:r>
            <a:endParaRPr kumimoji="1" lang="zh-TW" altLang="en-US" sz="2800" b="1" dirty="0">
              <a:solidFill>
                <a:prstClr val="black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grpSp>
        <p:nvGrpSpPr>
          <p:cNvPr id="4" name="群組 3"/>
          <p:cNvGrpSpPr>
            <a:grpSpLocks/>
          </p:cNvGrpSpPr>
          <p:nvPr/>
        </p:nvGrpSpPr>
        <p:grpSpPr bwMode="auto">
          <a:xfrm>
            <a:off x="1520825" y="3392488"/>
            <a:ext cx="2451100" cy="973137"/>
            <a:chOff x="5677596" y="2509724"/>
            <a:chExt cx="2448632" cy="973007"/>
          </a:xfrm>
        </p:grpSpPr>
        <p:sp>
          <p:nvSpPr>
            <p:cNvPr id="38935" name="矩形 4"/>
            <p:cNvSpPr>
              <a:spLocks noChangeArrowheads="1"/>
            </p:cNvSpPr>
            <p:nvPr/>
          </p:nvSpPr>
          <p:spPr bwMode="auto">
            <a:xfrm>
              <a:off x="5848930" y="2991506"/>
              <a:ext cx="2277298" cy="491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9pPr>
            </a:lstStyle>
            <a:p>
              <a:pPr eaLnBrk="1" fontAlgn="base" hangingPunct="1">
                <a:lnSpc>
                  <a:spcPct val="144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TW" altLang="en-US" sz="2000" b="1" smtClean="0">
                  <a:solidFill>
                    <a:prstClr val="black"/>
                  </a:solidFill>
                  <a:ea typeface="微軟正黑體" pitchFamily="34" charset="-120"/>
                </a:rPr>
                <a:t>時尚音響小熊</a:t>
              </a:r>
              <a:endParaRPr lang="en-US" altLang="zh-TW" sz="2000" b="1" smtClean="0">
                <a:solidFill>
                  <a:prstClr val="black"/>
                </a:solidFill>
                <a:ea typeface="微軟正黑體" pitchFamily="34" charset="-120"/>
              </a:endParaRPr>
            </a:p>
          </p:txBody>
        </p:sp>
        <p:pic>
          <p:nvPicPr>
            <p:cNvPr id="38936" name="Picture 12" descr="「ALLSAINTS logo png」的圖片搜尋結果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7596" y="2509724"/>
              <a:ext cx="2017290" cy="8876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" name="群組 2"/>
          <p:cNvGrpSpPr>
            <a:grpSpLocks/>
          </p:cNvGrpSpPr>
          <p:nvPr/>
        </p:nvGrpSpPr>
        <p:grpSpPr bwMode="auto">
          <a:xfrm>
            <a:off x="4567238" y="2509838"/>
            <a:ext cx="1044575" cy="903287"/>
            <a:chOff x="3979275" y="1125538"/>
            <a:chExt cx="1234663" cy="1066800"/>
          </a:xfrm>
        </p:grpSpPr>
        <p:sp>
          <p:nvSpPr>
            <p:cNvPr id="14" name="橢圓 13"/>
            <p:cNvSpPr/>
            <p:nvPr/>
          </p:nvSpPr>
          <p:spPr bwMode="auto">
            <a:xfrm>
              <a:off x="4061836" y="1125538"/>
              <a:ext cx="1069541" cy="10668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zh-TW" altLang="en-US" sz="20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8934" name="矩形 1"/>
            <p:cNvSpPr>
              <a:spLocks noChangeArrowheads="1"/>
            </p:cNvSpPr>
            <p:nvPr/>
          </p:nvSpPr>
          <p:spPr bwMode="auto">
            <a:xfrm>
              <a:off x="3979275" y="1366550"/>
              <a:ext cx="1234663" cy="6176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zh-TW" altLang="en-US" sz="2800" b="1" smtClean="0">
                  <a:solidFill>
                    <a:prstClr val="white"/>
                  </a:solidFill>
                  <a:latin typeface="微軟正黑體" pitchFamily="34" charset="-120"/>
                  <a:ea typeface="微軟正黑體" pitchFamily="34" charset="-120"/>
                </a:rPr>
                <a:t>加贈</a:t>
              </a:r>
            </a:p>
          </p:txBody>
        </p:sp>
      </p:grpSp>
      <p:sp>
        <p:nvSpPr>
          <p:cNvPr id="22" name="文字方塊 3"/>
          <p:cNvSpPr txBox="1">
            <a:spLocks noChangeArrowheads="1"/>
          </p:cNvSpPr>
          <p:nvPr/>
        </p:nvSpPr>
        <p:spPr bwMode="auto">
          <a:xfrm>
            <a:off x="-336550" y="1365250"/>
            <a:ext cx="4111625" cy="88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TW" sz="4400" b="1" smtClean="0">
                <a:solidFill>
                  <a:prstClr val="black"/>
                </a:solidFill>
                <a:ea typeface="微軟正黑體" pitchFamily="34" charset="-120"/>
                <a:cs typeface="Arial" pitchFamily="34" charset="0"/>
              </a:rPr>
              <a:t>9</a:t>
            </a:r>
            <a:r>
              <a:rPr lang="zh-TW" altLang="en-US" sz="44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  <a:cs typeface="Arial" pitchFamily="34" charset="0"/>
              </a:rPr>
              <a:t>期</a:t>
            </a:r>
            <a:r>
              <a:rPr lang="en-US" altLang="zh-TW" sz="44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  <a:cs typeface="Arial" pitchFamily="34" charset="0"/>
              </a:rPr>
              <a:t>+</a:t>
            </a:r>
            <a:r>
              <a:rPr lang="en-US" altLang="zh-TW" sz="4400" b="1" smtClean="0">
                <a:solidFill>
                  <a:prstClr val="black"/>
                </a:solidFill>
                <a:ea typeface="微軟正黑體" pitchFamily="34" charset="-120"/>
                <a:cs typeface="Arial" pitchFamily="34" charset="0"/>
              </a:rPr>
              <a:t>9</a:t>
            </a:r>
            <a:r>
              <a:rPr lang="zh-TW" altLang="en-US" sz="4400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  <a:cs typeface="Arial" pitchFamily="34" charset="0"/>
              </a:rPr>
              <a:t>期</a:t>
            </a:r>
            <a:endParaRPr lang="en-US" altLang="zh-TW" sz="4400" b="1" smtClean="0">
              <a:solidFill>
                <a:prstClr val="black"/>
              </a:solidFill>
              <a:latin typeface="微軟正黑體" pitchFamily="34" charset="-120"/>
              <a:ea typeface="微軟正黑體" pitchFamily="34" charset="-120"/>
              <a:cs typeface="Arial" pitchFamily="34" charset="0"/>
            </a:endParaRPr>
          </a:p>
        </p:txBody>
      </p:sp>
      <p:sp>
        <p:nvSpPr>
          <p:cNvPr id="23" name="文字方塊 22"/>
          <p:cNvSpPr txBox="1"/>
          <p:nvPr/>
        </p:nvSpPr>
        <p:spPr bwMode="auto">
          <a:xfrm rot="21078926">
            <a:off x="2995613" y="1390650"/>
            <a:ext cx="2506662" cy="708025"/>
          </a:xfrm>
          <a:prstGeom prst="round1Rect">
            <a:avLst>
              <a:gd name="adj" fmla="val 0"/>
            </a:avLst>
          </a:prstGeom>
          <a:solidFill>
            <a:srgbClr val="C00000"/>
          </a:solidFill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新細明體" pitchFamily="18" charset="-12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altLang="zh-TW" sz="4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微軟正黑體" pitchFamily="34" charset="-120"/>
                <a:cs typeface="Arial" charset="0"/>
              </a:rPr>
              <a:t>$5,198</a:t>
            </a:r>
          </a:p>
        </p:txBody>
      </p:sp>
      <p:pic>
        <p:nvPicPr>
          <p:cNvPr id="24" name="Picture 5" descr="Y:\02-LOGO+簡介+形象圖\01_LOGO檔案\ELLE\ELL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7538" y="185738"/>
            <a:ext cx="1460500" cy="858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 descr="Y:\02-LOGO+簡介+形象圖\01_LOGO檔案\各刊logo集合\各刊logo集合-01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963" y="260350"/>
            <a:ext cx="225425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十字形 25"/>
          <p:cNvSpPr/>
          <p:nvPr/>
        </p:nvSpPr>
        <p:spPr>
          <a:xfrm>
            <a:off x="3679825" y="441325"/>
            <a:ext cx="339725" cy="349250"/>
          </a:xfrm>
          <a:prstGeom prst="plus">
            <a:avLst>
              <a:gd name="adj" fmla="val 39376"/>
            </a:avLst>
          </a:prstGeom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zh-TW" altLang="en-US">
              <a:solidFill>
                <a:prstClr val="white"/>
              </a:solidFill>
            </a:endParaRPr>
          </a:p>
        </p:txBody>
      </p:sp>
      <p:sp>
        <p:nvSpPr>
          <p:cNvPr id="2" name="矩形 1"/>
          <p:cNvSpPr>
            <a:spLocks noChangeArrowheads="1"/>
          </p:cNvSpPr>
          <p:nvPr/>
        </p:nvSpPr>
        <p:spPr bwMode="auto">
          <a:xfrm rot="-488433">
            <a:off x="2984500" y="979488"/>
            <a:ext cx="1801813" cy="45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zh-TW" altLang="en-US" b="1" smtClean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  <a:cs typeface="Arial" pitchFamily="34" charset="0"/>
              </a:rPr>
              <a:t>訂閱超值優惠價</a:t>
            </a:r>
            <a:endParaRPr kumimoji="0" lang="zh-TW" altLang="en-US" b="1" smtClean="0">
              <a:solidFill>
                <a:prstClr val="black"/>
              </a:solidFill>
              <a:latin typeface="KaiTi" pitchFamily="49" charset="-122"/>
              <a:ea typeface="KaiTi" pitchFamily="49" charset="-122"/>
              <a:cs typeface="Arial" pitchFamily="34" charset="0"/>
            </a:endParaRPr>
          </a:p>
        </p:txBody>
      </p:sp>
      <p:grpSp>
        <p:nvGrpSpPr>
          <p:cNvPr id="20" name="群組 19"/>
          <p:cNvGrpSpPr>
            <a:grpSpLocks/>
          </p:cNvGrpSpPr>
          <p:nvPr/>
        </p:nvGrpSpPr>
        <p:grpSpPr bwMode="auto">
          <a:xfrm>
            <a:off x="69850" y="2127250"/>
            <a:ext cx="1044575" cy="903288"/>
            <a:chOff x="3979275" y="1125538"/>
            <a:chExt cx="1234663" cy="1066800"/>
          </a:xfrm>
        </p:grpSpPr>
        <p:sp>
          <p:nvSpPr>
            <p:cNvPr id="21" name="橢圓 20"/>
            <p:cNvSpPr/>
            <p:nvPr/>
          </p:nvSpPr>
          <p:spPr bwMode="auto">
            <a:xfrm>
              <a:off x="4061836" y="1125538"/>
              <a:ext cx="1069541" cy="10668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zh-TW" altLang="en-US" sz="20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38932" name="矩形 1"/>
            <p:cNvSpPr>
              <a:spLocks noChangeArrowheads="1"/>
            </p:cNvSpPr>
            <p:nvPr/>
          </p:nvSpPr>
          <p:spPr bwMode="auto">
            <a:xfrm>
              <a:off x="3979275" y="1366550"/>
              <a:ext cx="1234663" cy="617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1pPr>
              <a:lvl2pPr marL="742950" indent="-28575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2pPr>
              <a:lvl3pPr marL="11430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3pPr>
              <a:lvl4pPr marL="16002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4pPr>
              <a:lvl5pPr marL="2057400" indent="-228600" eaLnBrk="0" hangingPunct="0"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itchFamily="34" charset="0"/>
                  <a:ea typeface="新細明體" pitchFamily="18" charset="-12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TW" sz="2800" b="1" smtClean="0">
                  <a:solidFill>
                    <a:prstClr val="white"/>
                  </a:solidFill>
                  <a:latin typeface="微軟正黑體" pitchFamily="34" charset="-120"/>
                  <a:ea typeface="微軟正黑體" pitchFamily="34" charset="-120"/>
                </a:rPr>
                <a:t>2</a:t>
              </a:r>
              <a:r>
                <a:rPr lang="zh-TW" altLang="en-US" sz="2800" b="1" smtClean="0">
                  <a:solidFill>
                    <a:prstClr val="white"/>
                  </a:solidFill>
                  <a:latin typeface="微軟正黑體" pitchFamily="34" charset="-120"/>
                  <a:ea typeface="微軟正黑體" pitchFamily="34" charset="-120"/>
                </a:rPr>
                <a:t>組</a:t>
              </a:r>
            </a:p>
          </p:txBody>
        </p:sp>
      </p:grpSp>
      <p:sp>
        <p:nvSpPr>
          <p:cNvPr id="27" name="矩形 26"/>
          <p:cNvSpPr/>
          <p:nvPr/>
        </p:nvSpPr>
        <p:spPr>
          <a:xfrm>
            <a:off x="492125" y="5732463"/>
            <a:ext cx="4008438" cy="5048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2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立即享有現金回饋 </a:t>
            </a:r>
            <a:r>
              <a:rPr kumimoji="1" lang="en-US" altLang="zh-TW" sz="20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7% + 6% IBV</a:t>
            </a:r>
            <a:endParaRPr kumimoji="1" lang="zh-TW" altLang="en-US" sz="20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38389900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378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378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78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378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78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78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 nodeType="clickPar">
                      <p:stCondLst>
                        <p:cond delay="indefinite"/>
                      </p:stCondLst>
                      <p:childTnLst>
                        <p:par>
                          <p:cTn id="7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892" grpId="0"/>
      <p:bldP spid="7" grpId="0"/>
      <p:bldP spid="22" grpId="0"/>
      <p:bldP spid="23" grpId="0" animBg="1"/>
      <p:bldP spid="26" grpId="0" animBg="1"/>
      <p:bldP spid="2" grpId="0"/>
      <p:bldP spid="27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49" name="Picture 13" descr="X:\美安專刊\羅琳照片\LorenRidinger-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8640"/>
            <a:ext cx="9144000" cy="6096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438" y="5795963"/>
            <a:ext cx="739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字方塊 1"/>
          <p:cNvSpPr txBox="1">
            <a:spLocks noChangeArrowheads="1"/>
          </p:cNvSpPr>
          <p:nvPr/>
        </p:nvSpPr>
        <p:spPr bwMode="auto">
          <a:xfrm>
            <a:off x="323528" y="260648"/>
            <a:ext cx="216061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  <a:defRPr/>
            </a:pPr>
            <a:r>
              <a:rPr lang="zh-TW" altLang="en-US" sz="3600" b="1" spc="50" dirty="0" smtClean="0">
                <a:ln w="11430"/>
                <a:gradFill>
                  <a:gsLst>
                    <a:gs pos="25000">
                      <a:srgbClr val="C0504D">
                        <a:satMod val="155000"/>
                      </a:srgbClr>
                    </a:gs>
                    <a:gs pos="100000">
                      <a:srgbClr val="C0504D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美麗聖經</a:t>
            </a:r>
            <a:endParaRPr lang="zh-TW" altLang="en-US" sz="3600" b="1" spc="50" dirty="0">
              <a:ln w="11430"/>
              <a:gradFill>
                <a:gsLst>
                  <a:gs pos="25000">
                    <a:srgbClr val="C0504D">
                      <a:satMod val="155000"/>
                    </a:srgbClr>
                  </a:gs>
                  <a:gs pos="100000">
                    <a:srgbClr val="C0504D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34925" y="4732338"/>
            <a:ext cx="1716088" cy="712787"/>
          </a:xfrm>
          <a:prstGeom prst="rect">
            <a:avLst/>
          </a:prstGeom>
          <a:solidFill>
            <a:schemeClr val="bg1">
              <a:lumMod val="9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1600" b="1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2017</a:t>
            </a: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春夏</a:t>
            </a:r>
            <a:r>
              <a:rPr kumimoji="1"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時尚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彩妝趨勢</a:t>
            </a:r>
          </a:p>
        </p:txBody>
      </p:sp>
      <p:sp>
        <p:nvSpPr>
          <p:cNvPr id="15" name="矩形 14"/>
          <p:cNvSpPr/>
          <p:nvPr/>
        </p:nvSpPr>
        <p:spPr>
          <a:xfrm>
            <a:off x="1885950" y="4732338"/>
            <a:ext cx="1716088" cy="712787"/>
          </a:xfrm>
          <a:prstGeom prst="rect">
            <a:avLst/>
          </a:prstGeom>
          <a:solidFill>
            <a:schemeClr val="bg1">
              <a:lumMod val="9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美安創辦人</a:t>
            </a:r>
            <a:r>
              <a:rPr kumimoji="1"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羅琳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獨家專訪</a:t>
            </a:r>
          </a:p>
        </p:txBody>
      </p:sp>
      <p:sp>
        <p:nvSpPr>
          <p:cNvPr id="16" name="矩形 15"/>
          <p:cNvSpPr/>
          <p:nvPr/>
        </p:nvSpPr>
        <p:spPr>
          <a:xfrm>
            <a:off x="3733800" y="4732338"/>
            <a:ext cx="1716088" cy="712787"/>
          </a:xfrm>
          <a:prstGeom prst="rect">
            <a:avLst/>
          </a:prstGeom>
          <a:solidFill>
            <a:schemeClr val="bg1">
              <a:lumMod val="9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1600" b="1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16</a:t>
            </a: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位成功</a:t>
            </a:r>
            <a:r>
              <a:rPr kumimoji="1"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超連鎖店主</a:t>
            </a: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心路分享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2779713" y="5524500"/>
            <a:ext cx="1716087" cy="712788"/>
          </a:xfrm>
          <a:prstGeom prst="rect">
            <a:avLst/>
          </a:prstGeom>
          <a:solidFill>
            <a:schemeClr val="bg1">
              <a:lumMod val="9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如何結合</a:t>
            </a: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社群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媒體和網路購物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574675" y="5516563"/>
            <a:ext cx="1716088" cy="712787"/>
          </a:xfrm>
          <a:prstGeom prst="rect">
            <a:avLst/>
          </a:prstGeom>
          <a:solidFill>
            <a:schemeClr val="bg1">
              <a:lumMod val="9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護膚保養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飲食與運動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5" name="美安影音check4.mp4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263" y="4164013"/>
            <a:ext cx="3621087" cy="271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64154">
            <a:off x="6045200" y="371475"/>
            <a:ext cx="2638425" cy="351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676795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3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  <p:bldLst>
      <p:bldP spid="11" grpId="0" animBg="1"/>
      <p:bldP spid="15" grpId="0" animBg="1"/>
      <p:bldP spid="16" grpId="0" animBg="1"/>
      <p:bldP spid="18" grpId="0" animBg="1"/>
      <p:bldP spid="17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8" descr="C:\Users\adriana.chen\Desktop\之\圖庫\新增資料夾\d2f7c50e9d20caea10f27ad1a372b2c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46363"/>
            <a:ext cx="4211638" cy="421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3" name="Picture 8" descr="C:\Users\adriana.chen\Desktop\之\圖庫\新增資料夾\c9565cfa5b649285c5feb013ffc6e57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06" r="16580"/>
          <a:stretch>
            <a:fillRect/>
          </a:stretch>
        </p:blipFill>
        <p:spPr bwMode="auto">
          <a:xfrm>
            <a:off x="5719763" y="0"/>
            <a:ext cx="3424237" cy="303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3348038" y="2557463"/>
            <a:ext cx="5430837" cy="238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24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單次購買</a:t>
            </a:r>
            <a:r>
              <a:rPr kumimoji="1" lang="en-US" altLang="zh-TW" sz="24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50</a:t>
            </a:r>
            <a:r>
              <a:rPr kumimoji="1" lang="zh-TW" altLang="en-US" sz="24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本  優惠價</a:t>
            </a:r>
            <a:r>
              <a:rPr kumimoji="1" lang="en-US" altLang="zh-TW" sz="24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NT$</a:t>
            </a:r>
            <a:r>
              <a:rPr kumimoji="1" lang="en-US" altLang="zh-TW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微軟正黑體" pitchFamily="34" charset="-120"/>
              </a:rPr>
              <a:t>5,750</a:t>
            </a:r>
            <a:r>
              <a:rPr kumimoji="1" lang="zh-TW" altLang="en-US" sz="24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元</a:t>
            </a:r>
            <a:endParaRPr kumimoji="1" lang="en-US" altLang="zh-TW" sz="2400" dirty="0">
              <a:solidFill>
                <a:srgbClr val="000000"/>
              </a:solidFill>
              <a:latin typeface="Arial" charset="0"/>
              <a:ea typeface="微軟正黑體" pitchFamily="34" charset="-120"/>
            </a:endParaRPr>
          </a:p>
          <a:p>
            <a:pPr algn="r"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2000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kumimoji="1" lang="zh-TW" altLang="en-US" sz="2000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平均每本只需要</a:t>
            </a:r>
            <a:r>
              <a:rPr kumimoji="1" lang="en-US" altLang="zh-TW" sz="2000" dirty="0">
                <a:solidFill>
                  <a:srgbClr val="000000"/>
                </a:solidFill>
                <a:latin typeface="Arial" pitchFamily="34" charset="0"/>
                <a:ea typeface="微軟正黑體" panose="020B0604030504040204" pitchFamily="34" charset="-120"/>
                <a:cs typeface="Arial" panose="020B0604020202020204" pitchFamily="34" charset="0"/>
              </a:rPr>
              <a:t>115</a:t>
            </a:r>
            <a:r>
              <a:rPr kumimoji="1" lang="zh-TW" altLang="en-US" sz="2000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元</a:t>
            </a:r>
            <a:r>
              <a:rPr kumimoji="1" lang="en-US" altLang="zh-TW" sz="2000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  <a:p>
            <a:pPr algn="r"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24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單次購買</a:t>
            </a:r>
            <a:r>
              <a:rPr kumimoji="1" lang="en-US" altLang="zh-TW" sz="24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100</a:t>
            </a:r>
            <a:r>
              <a:rPr kumimoji="1" lang="zh-TW" altLang="en-US" sz="24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本 優惠價</a:t>
            </a:r>
            <a:r>
              <a:rPr kumimoji="1" lang="en-US" altLang="zh-TW" sz="24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NT$</a:t>
            </a:r>
            <a:r>
              <a:rPr kumimoji="1" lang="en-US" altLang="zh-TW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微軟正黑體" pitchFamily="34" charset="-120"/>
              </a:rPr>
              <a:t>10,000</a:t>
            </a:r>
            <a:r>
              <a:rPr kumimoji="1" lang="zh-TW" altLang="en-US" sz="24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元</a:t>
            </a:r>
            <a:endParaRPr kumimoji="1" lang="en-US" altLang="zh-TW" sz="2400" dirty="0">
              <a:solidFill>
                <a:srgbClr val="000000"/>
              </a:solidFill>
              <a:latin typeface="Arial" charset="0"/>
              <a:ea typeface="微軟正黑體" pitchFamily="34" charset="-120"/>
            </a:endParaRPr>
          </a:p>
          <a:p>
            <a:pPr algn="r" fontAlgn="base">
              <a:lnSpc>
                <a:spcPts val="45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20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(</a:t>
            </a:r>
            <a:r>
              <a:rPr kumimoji="1" lang="zh-TW" altLang="en-US" sz="20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平均每本只需要</a:t>
            </a:r>
            <a:r>
              <a:rPr kumimoji="1" lang="en-US" altLang="zh-TW" sz="20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100</a:t>
            </a:r>
            <a:r>
              <a:rPr kumimoji="1" lang="zh-TW" altLang="en-US" sz="20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元</a:t>
            </a:r>
            <a:r>
              <a:rPr kumimoji="1" lang="en-US" altLang="zh-TW" sz="2000" dirty="0">
                <a:solidFill>
                  <a:srgbClr val="000000"/>
                </a:solidFill>
                <a:latin typeface="Arial" charset="0"/>
                <a:ea typeface="微軟正黑體" pitchFamily="34" charset="-120"/>
              </a:rPr>
              <a:t>)</a:t>
            </a:r>
          </a:p>
        </p:txBody>
      </p:sp>
      <p:pic>
        <p:nvPicPr>
          <p:cNvPr id="4096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438" y="5867400"/>
            <a:ext cx="739775" cy="1017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矩形 1"/>
          <p:cNvSpPr>
            <a:spLocks noChangeArrowheads="1"/>
          </p:cNvSpPr>
          <p:nvPr/>
        </p:nvSpPr>
        <p:spPr bwMode="auto">
          <a:xfrm>
            <a:off x="3779838" y="1125538"/>
            <a:ext cx="3152775" cy="623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eaLnBrk="1" fontAlgn="base" hangingPunct="1">
              <a:lnSpc>
                <a:spcPct val="144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400" dirty="0" smtClean="0">
                <a:solidFill>
                  <a:srgbClr val="000000"/>
                </a:solidFill>
                <a:ea typeface="微軟正黑體" pitchFamily="34" charset="-120"/>
              </a:rPr>
              <a:t>單本售價</a:t>
            </a:r>
            <a:r>
              <a:rPr lang="en-US" altLang="zh-TW" sz="2400" dirty="0" smtClean="0">
                <a:solidFill>
                  <a:srgbClr val="000000"/>
                </a:solidFill>
                <a:ea typeface="微軟正黑體" pitchFamily="34" charset="-120"/>
              </a:rPr>
              <a:t>NT$</a:t>
            </a:r>
            <a:r>
              <a:rPr lang="en-US" altLang="zh-TW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軟正黑體" pitchFamily="34" charset="-120"/>
              </a:rPr>
              <a:t>128</a:t>
            </a:r>
            <a:r>
              <a:rPr lang="zh-TW" altLang="en-US" b="1" dirty="0" smtClean="0">
                <a:solidFill>
                  <a:prstClr val="black"/>
                </a:solidFill>
                <a:ea typeface="微軟正黑體" pitchFamily="34" charset="-120"/>
              </a:rPr>
              <a:t>元</a:t>
            </a:r>
            <a:endParaRPr lang="en-US" altLang="zh-TW" dirty="0" smtClean="0">
              <a:solidFill>
                <a:prstClr val="black"/>
              </a:solidFill>
              <a:ea typeface="微軟正黑體" pitchFamily="34" charset="-12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76313" y="6124575"/>
            <a:ext cx="5086350" cy="5048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立即享有現金回饋 </a:t>
            </a:r>
            <a:r>
              <a:rPr kumimoji="1" lang="en-US" altLang="zh-TW" sz="2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7% + 6% IBV</a:t>
            </a:r>
            <a:endParaRPr kumimoji="1" lang="zh-TW" altLang="en-US" sz="24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6350" y="5092700"/>
            <a:ext cx="1716088" cy="71278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1600" b="1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2017</a:t>
            </a: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春夏</a:t>
            </a:r>
            <a:r>
              <a:rPr kumimoji="1"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時尚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彩妝趨勢</a:t>
            </a:r>
          </a:p>
        </p:txBody>
      </p:sp>
      <p:sp>
        <p:nvSpPr>
          <p:cNvPr id="12" name="矩形 11"/>
          <p:cNvSpPr/>
          <p:nvPr/>
        </p:nvSpPr>
        <p:spPr>
          <a:xfrm>
            <a:off x="1857375" y="5092700"/>
            <a:ext cx="1716088" cy="71278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美安創辦人</a:t>
            </a:r>
            <a:r>
              <a:rPr kumimoji="1"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羅琳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獨家專訪</a:t>
            </a:r>
          </a:p>
        </p:txBody>
      </p:sp>
      <p:sp>
        <p:nvSpPr>
          <p:cNvPr id="13" name="矩形 12"/>
          <p:cNvSpPr/>
          <p:nvPr/>
        </p:nvSpPr>
        <p:spPr>
          <a:xfrm>
            <a:off x="3705225" y="5092700"/>
            <a:ext cx="1716088" cy="71278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sz="1600" b="1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16</a:t>
            </a: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位成功</a:t>
            </a:r>
            <a:r>
              <a:rPr kumimoji="1"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超連鎖店主</a:t>
            </a: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心路分享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7386638" y="5092700"/>
            <a:ext cx="1716087" cy="71278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en-US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如何結合</a:t>
            </a: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社群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媒體和網路購物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529263" y="5092700"/>
            <a:ext cx="1716087" cy="71278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護膚保養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zh-TW" altLang="zh-TW" sz="1600" b="1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飲食與運動</a:t>
            </a:r>
            <a:endParaRPr kumimoji="1" lang="en-US" altLang="zh-TW" sz="1600" b="1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" name="矩形 15"/>
          <p:cNvSpPr>
            <a:spLocks noChangeArrowheads="1"/>
          </p:cNvSpPr>
          <p:nvPr/>
        </p:nvSpPr>
        <p:spPr bwMode="auto">
          <a:xfrm>
            <a:off x="3740150" y="1771650"/>
            <a:ext cx="5326063" cy="7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eaLnBrk="1" fontAlgn="base" hangingPunct="1">
              <a:lnSpc>
                <a:spcPct val="144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zh-TW" altLang="en-US" sz="2800" dirty="0" smtClean="0">
                <a:solidFill>
                  <a:srgbClr val="000000"/>
                </a:solidFill>
                <a:ea typeface="微軟正黑體" pitchFamily="34" charset="-120"/>
              </a:rPr>
              <a:t>現場</a:t>
            </a:r>
            <a:r>
              <a:rPr lang="zh-TW" altLang="en-US" sz="2800" u="sng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軟正黑體" pitchFamily="34" charset="-120"/>
              </a:rPr>
              <a:t>訂閱</a:t>
            </a:r>
            <a:r>
              <a:rPr lang="zh-TW" altLang="en-US" sz="2800" dirty="0" smtClean="0">
                <a:solidFill>
                  <a:srgbClr val="000000"/>
                </a:solidFill>
                <a:ea typeface="微軟正黑體" pitchFamily="34" charset="-120"/>
              </a:rPr>
              <a:t>加價購只要</a:t>
            </a:r>
            <a:r>
              <a:rPr lang="en-US" altLang="zh-TW" sz="2800" dirty="0" smtClean="0">
                <a:solidFill>
                  <a:srgbClr val="000000"/>
                </a:solidFill>
                <a:ea typeface="微軟正黑體" pitchFamily="34" charset="-120"/>
              </a:rPr>
              <a:t>NT$</a:t>
            </a:r>
            <a:r>
              <a:rPr lang="en-US" altLang="zh-TW" sz="2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微軟正黑體" pitchFamily="34" charset="-120"/>
              </a:rPr>
              <a:t>100</a:t>
            </a:r>
            <a:r>
              <a:rPr lang="zh-TW" altLang="en-US" sz="2800" b="1" dirty="0" smtClean="0">
                <a:solidFill>
                  <a:prstClr val="black"/>
                </a:solidFill>
                <a:ea typeface="微軟正黑體" pitchFamily="34" charset="-120"/>
              </a:rPr>
              <a:t>元</a:t>
            </a:r>
            <a:endParaRPr lang="en-US" altLang="zh-TW" sz="2800" dirty="0" smtClean="0">
              <a:solidFill>
                <a:prstClr val="black"/>
              </a:solidFill>
              <a:ea typeface="微軟正黑體" pitchFamily="34" charset="-120"/>
            </a:endParaRPr>
          </a:p>
        </p:txBody>
      </p:sp>
      <p:pic>
        <p:nvPicPr>
          <p:cNvPr id="40974" name="Picture 1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71471">
            <a:off x="341313" y="352425"/>
            <a:ext cx="3179762" cy="423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4278813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3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5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7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8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9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2" grpId="0"/>
      <p:bldP spid="7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Picture 3" descr="C:\Users\adriana.chen\Desktop\之\圖庫\新增資料夾\5c21a9ca79c89da297f439b7c22b7a3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75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8" name="文字方塊 11"/>
          <p:cNvSpPr txBox="1">
            <a:spLocks noChangeArrowheads="1"/>
          </p:cNvSpPr>
          <p:nvPr/>
        </p:nvSpPr>
        <p:spPr bwMode="auto">
          <a:xfrm>
            <a:off x="808038" y="711200"/>
            <a:ext cx="8713787" cy="585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r>
              <a:rPr lang="en-US" altLang="zh-TW" dirty="0" err="1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大板根森林溫泉渡假村</a:t>
            </a:r>
            <a:r>
              <a:rPr lang="zh-TW" altLang="en-US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   </a:t>
            </a:r>
            <a:r>
              <a:rPr lang="zh-TW" altLang="zh-TW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豪華雙人客房</a:t>
            </a:r>
            <a:r>
              <a:rPr lang="en-US" altLang="zh-TW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zh-TW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市價</a:t>
            </a:r>
            <a:r>
              <a:rPr lang="en-US" altLang="zh-TW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8,000</a:t>
            </a:r>
            <a:r>
              <a:rPr lang="zh-TW" altLang="zh-TW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元</a:t>
            </a:r>
            <a:r>
              <a:rPr lang="en-US" altLang="zh-TW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+10%)</a:t>
            </a: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lang="en-US" altLang="zh-TW" b="1" u="sng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lang="en-US" altLang="zh-TW" b="1" u="sng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lang="en-US" altLang="zh-TW" b="1" u="sng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lang="en-US" altLang="zh-TW" b="1" u="sng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lang="en-US" altLang="zh-TW" b="1" u="sng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lang="en-US" altLang="zh-TW" b="1" u="sng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lang="en-US" altLang="zh-TW" b="1" u="sng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r>
              <a:rPr lang="zh-TW" altLang="zh-TW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高雄冒煙的喬就是公寓旅店</a:t>
            </a:r>
            <a:r>
              <a:rPr lang="zh-TW" altLang="en-US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   </a:t>
            </a:r>
            <a:r>
              <a:rPr lang="zh-TW" altLang="zh-TW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雙人房</a:t>
            </a:r>
            <a:r>
              <a:rPr lang="en-US" altLang="zh-TW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zh-TW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市價</a:t>
            </a:r>
            <a:r>
              <a:rPr lang="en-US" altLang="zh-TW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5,000</a:t>
            </a:r>
            <a:r>
              <a:rPr lang="zh-TW" altLang="zh-TW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元</a:t>
            </a:r>
            <a:r>
              <a:rPr lang="en-US" altLang="zh-TW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+10</a:t>
            </a:r>
            <a:r>
              <a:rPr lang="en-US" altLang="zh-TW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%)</a:t>
            </a:r>
            <a:endParaRPr lang="en-US" altLang="zh-TW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kumimoji="0" lang="en-US" altLang="zh-TW" b="1" u="sng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kumimoji="0" lang="en-US" altLang="zh-TW" b="1" u="sng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kumimoji="0" lang="en-US" altLang="zh-TW" b="1" u="sng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kumimoji="0" lang="en-US" altLang="zh-TW" b="1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kumimoji="0" lang="en-US" altLang="zh-TW" b="1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kumimoji="0" lang="en-US" altLang="zh-TW" b="1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endParaRPr kumimoji="0" lang="en-US" altLang="zh-TW" b="1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pic>
        <p:nvPicPr>
          <p:cNvPr id="15370" name="Picture 1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204913" y="1244600"/>
            <a:ext cx="3252787" cy="22558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1" name="Picture 1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457700" y="1228725"/>
            <a:ext cx="3257550" cy="22558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87450" y="4035425"/>
            <a:ext cx="3260725" cy="22558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0" name="Picture 8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471988" y="4035425"/>
            <a:ext cx="3252787" cy="22463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文字方塊 6"/>
          <p:cNvSpPr>
            <a:spLocks noChangeArrowheads="1"/>
          </p:cNvSpPr>
          <p:nvPr/>
        </p:nvSpPr>
        <p:spPr bwMode="auto">
          <a:xfrm>
            <a:off x="179388" y="6308725"/>
            <a:ext cx="8101012" cy="501650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algn="ctr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r>
              <a:rPr kumimoji="0" lang="en-US" altLang="zh-TW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4/29</a:t>
            </a:r>
            <a:r>
              <a:rPr kumimoji="0" lang="zh-TW" altLang="en-US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、</a:t>
            </a:r>
            <a:r>
              <a:rPr kumimoji="0" lang="en-US" altLang="zh-TW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4/30 </a:t>
            </a:r>
            <a:r>
              <a:rPr kumimoji="0" lang="zh-TW" altLang="en-US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現場訂閱成功即可參加，</a:t>
            </a:r>
            <a:r>
              <a:rPr kumimoji="0" lang="en-US" altLang="zh-TW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4/30 5:30PM</a:t>
            </a:r>
            <a:r>
              <a:rPr kumimoji="0" lang="zh-TW" altLang="en-US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於</a:t>
            </a:r>
            <a:r>
              <a:rPr kumimoji="0" lang="en-US" altLang="zh-TW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ELLE</a:t>
            </a:r>
            <a:r>
              <a:rPr kumimoji="0" lang="zh-TW" altLang="en-US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攤位抽出得獎者！</a:t>
            </a:r>
            <a:endParaRPr kumimoji="0" lang="zh-TW" altLang="en-US" b="1" dirty="0" smtClean="0">
              <a:solidFill>
                <a:prstClr val="white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pic>
        <p:nvPicPr>
          <p:cNvPr id="4199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6438" y="5795963"/>
            <a:ext cx="739775" cy="101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矩形 1"/>
          <p:cNvSpPr/>
          <p:nvPr/>
        </p:nvSpPr>
        <p:spPr>
          <a:xfrm>
            <a:off x="2192338" y="133350"/>
            <a:ext cx="4492625" cy="5953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defRPr/>
            </a:pPr>
            <a:r>
              <a:rPr lang="zh-TW" altLang="en-US" sz="28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歡慶美安大會加碼抽獎活動</a:t>
            </a:r>
          </a:p>
        </p:txBody>
      </p:sp>
      <p:sp>
        <p:nvSpPr>
          <p:cNvPr id="3" name="矩形 2"/>
          <p:cNvSpPr/>
          <p:nvPr/>
        </p:nvSpPr>
        <p:spPr>
          <a:xfrm>
            <a:off x="6804025" y="788988"/>
            <a:ext cx="720725" cy="29686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kumimoji="1" lang="zh-TW" altLang="zh-TW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</a:t>
            </a:r>
            <a:endParaRPr kumimoji="1" lang="zh-TW" altLang="en-US" b="1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6804025" y="3638550"/>
            <a:ext cx="720725" cy="29686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altLang="zh-TW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kumimoji="1" lang="zh-TW" altLang="zh-TW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名</a:t>
            </a:r>
            <a:endParaRPr kumimoji="1" lang="zh-TW" altLang="en-US" b="1" dirty="0">
              <a:solidFill>
                <a:prstClr val="white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414928505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3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3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3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3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2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2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1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 nodeType="clickPar">
                      <p:stCondLst>
                        <p:cond delay="indefinite"/>
                      </p:stCondLst>
                      <p:childTnLst>
                        <p:par>
                          <p:cTn id="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8" grpId="0"/>
      <p:bldP spid="8" grpId="0" animBg="1"/>
      <p:bldP spid="3" grpId="0" animBg="1"/>
      <p:bldP spid="12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E6B9B8"/>
            </a:gs>
            <a:gs pos="100000">
              <a:srgbClr val="C2D1ED"/>
            </a:gs>
            <a:gs pos="100000">
              <a:srgbClr val="E1E8F5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11" t="16548" r="15286" b="15112"/>
          <a:stretch>
            <a:fillRect/>
          </a:stretch>
        </p:blipFill>
        <p:spPr bwMode="auto">
          <a:xfrm>
            <a:off x="2627313" y="0"/>
            <a:ext cx="3708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群組 5"/>
          <p:cNvGrpSpPr>
            <a:grpSpLocks/>
          </p:cNvGrpSpPr>
          <p:nvPr/>
        </p:nvGrpSpPr>
        <p:grpSpPr bwMode="auto">
          <a:xfrm>
            <a:off x="1403350" y="74613"/>
            <a:ext cx="6173788" cy="6858000"/>
            <a:chOff x="-8549574" y="1137212"/>
            <a:chExt cx="6172781" cy="6858000"/>
          </a:xfrm>
        </p:grpSpPr>
        <p:sp>
          <p:nvSpPr>
            <p:cNvPr id="7" name="文字方塊 6"/>
            <p:cNvSpPr txBox="1"/>
            <p:nvPr/>
          </p:nvSpPr>
          <p:spPr>
            <a:xfrm>
              <a:off x="-7078201" y="4926574"/>
              <a:ext cx="3393521" cy="132238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zh-TW" altLang="en-US" sz="40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     與美安</a:t>
              </a:r>
              <a:endParaRPr kumimoji="1" lang="en-US" altLang="zh-TW" sz="4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zh-TW" altLang="en-US" sz="40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共創美好生活</a:t>
              </a:r>
              <a:r>
                <a:rPr kumimoji="1" lang="en-US" altLang="zh-TW" sz="40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 </a:t>
              </a:r>
              <a:endParaRPr kumimoji="1" lang="zh-TW" altLang="en-US" sz="4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43013" name="圖片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549574" y="1137212"/>
              <a:ext cx="6172781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166250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Freda_工作檔\2017\2017-4月美安\ppt\aabeauty唐美人送機車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9050"/>
            <a:ext cx="9163050" cy="68770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43920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9" name="標題 1"/>
          <p:cNvSpPr txBox="1">
            <a:spLocks/>
          </p:cNvSpPr>
          <p:nvPr/>
        </p:nvSpPr>
        <p:spPr bwMode="auto">
          <a:xfrm>
            <a:off x="2316931" y="620688"/>
            <a:ext cx="6359525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zh-TW" altLang="en-US" sz="4800" b="1" dirty="0">
                <a:solidFill>
                  <a:srgbClr val="C00000"/>
                </a:solidFill>
                <a:latin typeface="Adobe 繁黑體 Std B"/>
                <a:ea typeface="Adobe 繁黑體 Std B"/>
                <a:cs typeface="Adobe 繁黑體 Std B"/>
              </a:rPr>
              <a:t>創業的本質與堅持</a:t>
            </a:r>
            <a:endParaRPr lang="en-US" altLang="zh-TW" sz="4800" b="1" dirty="0">
              <a:solidFill>
                <a:srgbClr val="C00000"/>
              </a:solidFill>
              <a:latin typeface="Adobe 繁黑體 Std B"/>
              <a:ea typeface="Adobe 繁黑體 Std B"/>
              <a:cs typeface="Adobe 繁黑體 Std B"/>
            </a:endParaRPr>
          </a:p>
        </p:txBody>
      </p:sp>
      <p:sp>
        <p:nvSpPr>
          <p:cNvPr id="229380" name="矩形 3"/>
          <p:cNvSpPr>
            <a:spLocks noChangeArrowheads="1"/>
          </p:cNvSpPr>
          <p:nvPr/>
        </p:nvSpPr>
        <p:spPr bwMode="auto">
          <a:xfrm>
            <a:off x="2411760" y="2132856"/>
            <a:ext cx="6408712" cy="1908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kumimoji="1" lang="en-US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1952</a:t>
            </a:r>
            <a:r>
              <a:rPr kumimoji="1" lang="zh-TW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年，出生於台灣高雄眷村。</a:t>
            </a:r>
            <a:endParaRPr kumimoji="1" lang="en-US" altLang="zh-TW" b="1" dirty="0">
              <a:solidFill>
                <a:srgbClr val="000000"/>
              </a:solidFill>
              <a:latin typeface="Adobe 繁黑體 Std B"/>
              <a:ea typeface="Adobe 繁黑體 Std B"/>
              <a:cs typeface="Adobe 繁黑體 Std B"/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kumimoji="1" lang="en-US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29</a:t>
            </a:r>
            <a:r>
              <a:rPr kumimoji="1" lang="zh-TW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歲便成為台灣《中國時報》主筆，</a:t>
            </a:r>
            <a:r>
              <a:rPr kumimoji="1" lang="en-US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30</a:t>
            </a:r>
            <a:r>
              <a:rPr kumimoji="1" lang="zh-TW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歲負笈美國，</a:t>
            </a:r>
            <a:r>
              <a:rPr kumimoji="1" lang="en-US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35</a:t>
            </a:r>
            <a:r>
              <a:rPr kumimoji="1" lang="zh-TW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歲回台創辦《商業周刊》，發展成為台灣最具影響力、發行量第一的雜誌。</a:t>
            </a:r>
            <a:endParaRPr kumimoji="1" lang="en-US" altLang="zh-TW" b="1" dirty="0">
              <a:solidFill>
                <a:srgbClr val="000000"/>
              </a:solidFill>
              <a:latin typeface="Adobe 繁黑體 Std B"/>
              <a:ea typeface="Adobe 繁黑體 Std B"/>
              <a:cs typeface="Adobe 繁黑體 Std B"/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kumimoji="1" lang="en-US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2009</a:t>
            </a:r>
            <a:r>
              <a:rPr kumimoji="1" lang="zh-TW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年</a:t>
            </a:r>
            <a:r>
              <a:rPr kumimoji="1" lang="en-US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6</a:t>
            </a:r>
            <a:r>
              <a:rPr kumimoji="1" lang="zh-TW" altLang="zh-TW" b="1" dirty="0">
                <a:solidFill>
                  <a:srgbClr val="000000"/>
                </a:solidFill>
                <a:latin typeface="Adobe 繁黑體 Std B"/>
                <a:ea typeface="Adobe 繁黑體 Std B"/>
                <a:cs typeface="Adobe 繁黑體 Std B"/>
              </a:rPr>
              <a:t>月，卸下商周集團執行長一職，現為商周集團榮譽發行人，持續投入「人生學習」。</a:t>
            </a:r>
          </a:p>
        </p:txBody>
      </p:sp>
      <p:cxnSp>
        <p:nvCxnSpPr>
          <p:cNvPr id="6" name="直線接點 5"/>
          <p:cNvCxnSpPr/>
          <p:nvPr/>
        </p:nvCxnSpPr>
        <p:spPr>
          <a:xfrm>
            <a:off x="542" y="4149080"/>
            <a:ext cx="937577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382" name="矩形 6"/>
          <p:cNvSpPr>
            <a:spLocks noChangeArrowheads="1"/>
          </p:cNvSpPr>
          <p:nvPr/>
        </p:nvSpPr>
        <p:spPr bwMode="auto">
          <a:xfrm>
            <a:off x="204317" y="4335487"/>
            <a:ext cx="609587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1" lang="zh-TW" altLang="zh-TW" sz="24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dobe 繁黑體 Std B"/>
              </a:rPr>
              <a:t>《還在學》</a:t>
            </a:r>
            <a:r>
              <a:rPr kumimoji="1" lang="zh-TW" altLang="en-US" sz="2400" b="1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dobe 繁黑體 Std B"/>
              </a:rPr>
              <a:t>成功不是你想的</a:t>
            </a:r>
            <a:r>
              <a:rPr kumimoji="1" lang="zh-TW" altLang="en-US" sz="2400" b="1" dirty="0" smtClean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dobe 繁黑體 Std B"/>
              </a:rPr>
              <a:t>那樣</a:t>
            </a:r>
            <a:endParaRPr kumimoji="1" lang="zh-TW" altLang="en-US" sz="24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dobe 繁黑體 Std B"/>
            </a:endParaRPr>
          </a:p>
        </p:txBody>
      </p:sp>
      <p:pic>
        <p:nvPicPr>
          <p:cNvPr id="229384" name="Picture 2" descr="\\Cmhosfs07\bw_designcenter$\各家完整Logo\商業周刊_Logo\商業周刊logo_有白框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80963"/>
            <a:ext cx="863600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群組 2"/>
          <p:cNvGrpSpPr/>
          <p:nvPr/>
        </p:nvGrpSpPr>
        <p:grpSpPr>
          <a:xfrm>
            <a:off x="2339752" y="1412776"/>
            <a:ext cx="4695825" cy="536575"/>
            <a:chOff x="2771800" y="1308249"/>
            <a:chExt cx="4695825" cy="536575"/>
          </a:xfrm>
        </p:grpSpPr>
        <p:sp>
          <p:nvSpPr>
            <p:cNvPr id="229385" name="文字方塊 1"/>
            <p:cNvSpPr txBox="1">
              <a:spLocks noChangeArrowheads="1"/>
            </p:cNvSpPr>
            <p:nvPr/>
          </p:nvSpPr>
          <p:spPr bwMode="auto">
            <a:xfrm>
              <a:off x="4370412" y="1567011"/>
              <a:ext cx="3097213" cy="27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kumimoji="1" lang="zh-TW" altLang="zh-TW" b="1" dirty="0">
                  <a:solidFill>
                    <a:srgbClr val="000000"/>
                  </a:solidFill>
                  <a:latin typeface="Adobe 繁黑體 Std B"/>
                  <a:ea typeface="Adobe 繁黑體 Std B"/>
                  <a:cs typeface="Adobe 繁黑體 Std B"/>
                </a:rPr>
                <a:t>商周集團榮譽發行人</a:t>
              </a:r>
              <a:endParaRPr kumimoji="1" lang="zh-TW" altLang="en-US" b="1" dirty="0">
                <a:solidFill>
                  <a:srgbClr val="000000"/>
                </a:solidFill>
                <a:latin typeface="Centaur" pitchFamily="18" charset="0"/>
              </a:endParaRPr>
            </a:p>
          </p:txBody>
        </p:sp>
        <p:sp>
          <p:nvSpPr>
            <p:cNvPr id="11" name="標題 1"/>
            <p:cNvSpPr txBox="1">
              <a:spLocks/>
            </p:cNvSpPr>
            <p:nvPr/>
          </p:nvSpPr>
          <p:spPr>
            <a:xfrm>
              <a:off x="2771800" y="1308249"/>
              <a:ext cx="1614487" cy="504825"/>
            </a:xfrm>
            <a:prstGeom prst="rect">
              <a:avLst/>
            </a:prstGeom>
          </p:spPr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微軟正黑體" pitchFamily="34" charset="-120"/>
                  <a:ea typeface="微軟正黑體" pitchFamily="34" charset="-120"/>
                  <a:cs typeface="+mj-cs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微軟正黑體" pitchFamily="34" charset="-120"/>
                  <a:ea typeface="微軟正黑體" pitchFamily="34" charset="-120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微軟正黑體" pitchFamily="34" charset="-120"/>
                  <a:ea typeface="微軟正黑體" pitchFamily="34" charset="-120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微軟正黑體" pitchFamily="34" charset="-120"/>
                  <a:ea typeface="微軟正黑體" pitchFamily="34" charset="-120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微軟正黑體" pitchFamily="34" charset="-120"/>
                  <a:ea typeface="微軟正黑體" pitchFamily="34" charset="-120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charset="0"/>
                  <a:ea typeface="新細明體" pitchFamily="18" charset="-12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charset="0"/>
                  <a:ea typeface="新細明體" pitchFamily="18" charset="-12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charset="0"/>
                  <a:ea typeface="新細明體" pitchFamily="18" charset="-12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kumimoji="1" sz="4400">
                  <a:solidFill>
                    <a:schemeClr val="tx2"/>
                  </a:solidFill>
                  <a:latin typeface="Arial" charset="0"/>
                  <a:ea typeface="新細明體" pitchFamily="18" charset="-120"/>
                </a:defRPr>
              </a:lvl9pPr>
            </a:lstStyle>
            <a:p>
              <a:pPr>
                <a:defRPr/>
              </a:pPr>
              <a:r>
                <a:rPr lang="zh-TW" altLang="zh-TW" sz="3600" b="1" kern="0" dirty="0">
                  <a:solidFill>
                    <a:srgbClr val="000000"/>
                  </a:solidFill>
                  <a:latin typeface="Adobe 繁黑體 Std B" pitchFamily="34" charset="-120"/>
                  <a:ea typeface="Adobe 繁黑體 Std B" pitchFamily="34" charset="-120"/>
                </a:rPr>
                <a:t>金惟純</a:t>
              </a:r>
              <a:endParaRPr lang="zh-TW" altLang="en-US" sz="3600" kern="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4" name="圖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558" y="4140224"/>
            <a:ext cx="2275845" cy="2753617"/>
          </a:xfrm>
          <a:prstGeom prst="rect">
            <a:avLst/>
          </a:prstGeom>
        </p:spPr>
      </p:pic>
      <p:sp>
        <p:nvSpPr>
          <p:cNvPr id="2" name="文字方塊 1"/>
          <p:cNvSpPr txBox="1"/>
          <p:nvPr/>
        </p:nvSpPr>
        <p:spPr>
          <a:xfrm>
            <a:off x="395537" y="4810507"/>
            <a:ext cx="5904655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9</a:t>
            </a:r>
            <a:r>
              <a:rPr lang="zh-TW" altLang="en-US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歲時的他，才氣縱橫，成為</a:t>
            </a:r>
            <a:r>
              <a:rPr lang="en-US" altLang="zh-TW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《</a:t>
            </a:r>
            <a:r>
              <a:rPr lang="zh-TW" altLang="en-US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中國時報</a:t>
            </a:r>
            <a:r>
              <a:rPr lang="en-US" altLang="zh-TW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》</a:t>
            </a:r>
            <a:r>
              <a:rPr lang="zh-TW" altLang="en-US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最年輕主筆，</a:t>
            </a:r>
            <a:br>
              <a:rPr lang="zh-TW" altLang="en-US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創辦</a:t>
            </a:r>
            <a:r>
              <a:rPr lang="en-US" altLang="zh-TW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《</a:t>
            </a:r>
            <a:r>
              <a:rPr lang="zh-TW" altLang="en-US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商業周刊</a:t>
            </a:r>
            <a:r>
              <a:rPr lang="en-US" altLang="zh-TW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》</a:t>
            </a:r>
            <a:r>
              <a:rPr lang="zh-TW" altLang="en-US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後飽嘗壓力煎熬，終成就全台發行量第一地位；人生顛峰時，無意間闖進一趟生命探尋之旅，</a:t>
            </a:r>
            <a:br>
              <a:rPr lang="zh-TW" altLang="en-US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sz="1700" b="1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終於學會面對自我矛盾，重新學「怎麼活」</a:t>
            </a:r>
            <a:r>
              <a:rPr lang="zh-TW" altLang="en-US" sz="1700" b="1" dirty="0" smtClean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kumimoji="1" lang="zh-TW" altLang="en-US" sz="1700" b="1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Adobe 繁黑體 Std B"/>
            </a:endParaRPr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75" y="188640"/>
            <a:ext cx="1802856" cy="396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3851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C:\Users\Julias\Desktop\shutterstock_38227650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928" y="0"/>
            <a:ext cx="917292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"/>
          <p:cNvSpPr txBox="1">
            <a:spLocks/>
          </p:cNvSpPr>
          <p:nvPr/>
        </p:nvSpPr>
        <p:spPr bwMode="auto">
          <a:xfrm>
            <a:off x="2915816" y="46479"/>
            <a:ext cx="6300192" cy="27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7" tIns="45699" rIns="91397" bIns="45699" anchor="b"/>
          <a:lstStyle>
            <a:lvl1pPr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1pPr>
            <a:lvl2pPr marL="501650" indent="-1825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2pPr>
            <a:lvl3pPr marL="685800" indent="-1825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3pPr>
            <a:lvl4pPr marL="914400" indent="-1825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4pPr>
            <a:lvl5pPr marL="1143000" indent="-1825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5pPr>
            <a:lvl6pPr marL="1600200" indent="-1825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6pPr>
            <a:lvl7pPr marL="2057400" indent="-1825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7pPr>
            <a:lvl8pPr marL="2514600" indent="-1825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8pPr>
            <a:lvl9pPr marL="2971800" indent="-1825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微軟正黑體" pitchFamily="34" charset="-12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zh-TW" altLang="en-US" sz="4400" b="1" dirty="0" smtClean="0">
                <a:solidFill>
                  <a:srgbClr val="FF0000"/>
                </a:solidFill>
              </a:rPr>
              <a:t>超強加碼 </a:t>
            </a:r>
            <a:r>
              <a:rPr lang="en-US" altLang="zh-TW" sz="4400" b="1" dirty="0" smtClean="0">
                <a:solidFill>
                  <a:srgbClr val="FF0000"/>
                </a:solidFill>
              </a:rPr>
              <a:t>- </a:t>
            </a:r>
            <a:r>
              <a:rPr lang="zh-TW" altLang="en-US" sz="4400" b="1" dirty="0" smtClean="0">
                <a:solidFill>
                  <a:srgbClr val="FF0000"/>
                </a:solidFill>
                <a:latin typeface="+mn-ea"/>
              </a:rPr>
              <a:t>購物年金</a:t>
            </a:r>
            <a:r>
              <a:rPr lang="zh-TW" altLang="en-US" sz="4400" b="1" dirty="0" smtClean="0">
                <a:solidFill>
                  <a:srgbClr val="FF0000"/>
                </a:solidFill>
              </a:rPr>
              <a:t>計畫</a:t>
            </a:r>
            <a:endParaRPr lang="en-US" altLang="zh-TW" sz="4400" b="1" dirty="0" smtClean="0">
              <a:solidFill>
                <a:srgbClr val="FF0000"/>
              </a:solidFill>
            </a:endParaRPr>
          </a:p>
          <a:p>
            <a:r>
              <a:rPr lang="zh-TW" altLang="en-US" sz="4400" b="1" dirty="0" smtClean="0">
                <a:solidFill>
                  <a:schemeClr val="bg1"/>
                </a:solidFill>
                <a:latin typeface="+mn-ea"/>
              </a:rPr>
              <a:t>季度消費達</a:t>
            </a:r>
            <a:r>
              <a:rPr lang="en-US" altLang="zh-TW" b="1" dirty="0" smtClean="0">
                <a:solidFill>
                  <a:schemeClr val="bg1"/>
                </a:solidFill>
                <a:latin typeface="+mn-ea"/>
              </a:rPr>
              <a:t>NT$</a:t>
            </a:r>
            <a:r>
              <a:rPr lang="en-US" altLang="zh-TW" sz="4400" b="1" dirty="0" smtClean="0">
                <a:solidFill>
                  <a:schemeClr val="bg1"/>
                </a:solidFill>
                <a:latin typeface="+mn-ea"/>
              </a:rPr>
              <a:t>95,000</a:t>
            </a:r>
            <a:endParaRPr lang="en-US" altLang="zh-TW" sz="4400" b="1" dirty="0">
              <a:solidFill>
                <a:schemeClr val="bg1"/>
              </a:solidFill>
              <a:latin typeface="+mn-ea"/>
            </a:endParaRPr>
          </a:p>
          <a:p>
            <a:r>
              <a:rPr lang="zh-TW" altLang="en-US" sz="4400" b="1" dirty="0" smtClean="0">
                <a:solidFill>
                  <a:schemeClr val="bg1"/>
                </a:solidFill>
                <a:latin typeface="+mn-ea"/>
              </a:rPr>
              <a:t>可獲得額外</a:t>
            </a:r>
            <a:r>
              <a:rPr lang="zh-TW" altLang="en-US" sz="4400" b="1" dirty="0">
                <a:solidFill>
                  <a:schemeClr val="bg1"/>
                </a:solidFill>
                <a:latin typeface="+mn-ea"/>
              </a:rPr>
              <a:t>業績</a:t>
            </a:r>
            <a:r>
              <a:rPr lang="zh-TW" altLang="en-US" sz="4400" b="1" dirty="0" smtClean="0">
                <a:solidFill>
                  <a:schemeClr val="bg1"/>
                </a:solidFill>
                <a:latin typeface="+mn-ea"/>
              </a:rPr>
              <a:t>點數！</a:t>
            </a:r>
            <a:endParaRPr lang="en-US" altLang="zh-TW" sz="44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11" name="Rectangle 9"/>
          <p:cNvSpPr/>
          <p:nvPr/>
        </p:nvSpPr>
        <p:spPr>
          <a:xfrm>
            <a:off x="3251131" y="6150160"/>
            <a:ext cx="5892869" cy="707840"/>
          </a:xfrm>
          <a:prstGeom prst="rect">
            <a:avLst/>
          </a:prstGeom>
        </p:spPr>
        <p:txBody>
          <a:bodyPr wrap="none" lIns="91395" tIns="45697" rIns="91395" bIns="45697">
            <a:spAutoFit/>
          </a:bodyPr>
          <a:lstStyle/>
          <a:p>
            <a:pPr defTabSz="11968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sz="2000" b="1" cap="all" dirty="0">
                <a:solidFill>
                  <a:srgbClr val="7030A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註</a:t>
            </a:r>
            <a:r>
              <a:rPr kumimoji="0" lang="en-US" altLang="zh-TW" sz="2000" b="1" cap="all" dirty="0">
                <a:solidFill>
                  <a:srgbClr val="7030A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:</a:t>
            </a:r>
            <a:r>
              <a:rPr kumimoji="0" lang="zh-TW" altLang="en-US" sz="2000" b="1" cap="all" dirty="0">
                <a:solidFill>
                  <a:srgbClr val="7030A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有關購物年金紅利計畫之詳細合格條件，請參考</a:t>
            </a:r>
            <a:endParaRPr kumimoji="0" lang="en-US" altLang="zh-TW" sz="2000" b="1" cap="all" dirty="0">
              <a:solidFill>
                <a:srgbClr val="7030A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defTabSz="11968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TW" altLang="en-US" sz="2000" b="1" cap="all" dirty="0">
                <a:solidFill>
                  <a:srgbClr val="7030A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   </a:t>
            </a:r>
            <a:r>
              <a:rPr kumimoji="0" lang="zh-TW" altLang="en-US" sz="2000" b="1" cap="all" dirty="0" smtClean="0">
                <a:solidFill>
                  <a:srgbClr val="7030A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美</a:t>
            </a:r>
            <a:r>
              <a:rPr kumimoji="0" lang="zh-TW" altLang="en-US" sz="2000" b="1" cap="all" dirty="0">
                <a:solidFill>
                  <a:srgbClr val="7030A0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安台灣發布之各項公告</a:t>
            </a:r>
            <a:endParaRPr kumimoji="0" lang="en-US" sz="2000" b="1" cap="all" dirty="0">
              <a:solidFill>
                <a:srgbClr val="7030A0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2" name="圖片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1401" y="2865560"/>
            <a:ext cx="2952328" cy="295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845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C:\Users\Julias\Desktop\shutterstock_50014887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048" y="0"/>
            <a:ext cx="77703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矩形 8"/>
          <p:cNvSpPr/>
          <p:nvPr/>
        </p:nvSpPr>
        <p:spPr>
          <a:xfrm>
            <a:off x="110734" y="260648"/>
            <a:ext cx="7911327" cy="769441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defTabSz="888215">
              <a:defRPr/>
            </a:pPr>
            <a:r>
              <a:rPr lang="zh-TW" altLang="en-US" sz="4400" b="1" spc="-300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自入口網站連結至合作商店購買</a:t>
            </a:r>
            <a:endParaRPr lang="en-US" altLang="zh-TW" sz="4400" b="1" spc="-300" dirty="0" smtClean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0" name="Picture 8" descr="C:\Documents and Settings\Maggie\桌面\PS LOGO\120pX40p Logo\Eclif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9184" y="5632713"/>
            <a:ext cx="874534" cy="434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5585" y="5062304"/>
            <a:ext cx="889736" cy="47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4537936"/>
            <a:ext cx="879334" cy="466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2062" y="3892453"/>
            <a:ext cx="885656" cy="529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8" descr="Business Today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2063" y="3275297"/>
            <a:ext cx="903258" cy="513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53" descr="HOLA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5585" y="6165304"/>
            <a:ext cx="889736" cy="543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4050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C:\Users\Julias\Desktop\shutterstock_55647780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87239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矩形 8"/>
          <p:cNvSpPr/>
          <p:nvPr/>
        </p:nvSpPr>
        <p:spPr>
          <a:xfrm>
            <a:off x="191783" y="5805264"/>
            <a:ext cx="7488832" cy="769441"/>
          </a:xfrm>
          <a:prstGeom prst="rect">
            <a:avLst/>
          </a:prstGeom>
          <a:solidFill>
            <a:schemeClr val="tx1">
              <a:alpha val="82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defTabSz="888215">
              <a:defRPr/>
            </a:pPr>
            <a:r>
              <a:rPr lang="zh-TW" altLang="en-US" sz="4400" b="1" spc="-300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持美安聯名卡至實體夥伴商店</a:t>
            </a:r>
            <a:endParaRPr lang="en-US" altLang="zh-TW" sz="4400" b="1" spc="-300" dirty="0" smtClean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95625" y="4468556"/>
            <a:ext cx="1079977" cy="778371"/>
          </a:xfrm>
          <a:prstGeom prst="rect">
            <a:avLst/>
          </a:prstGeom>
          <a:noFill/>
          <a:ln>
            <a:noFill/>
          </a:ln>
          <a:effectLst>
            <a:glow rad="63500">
              <a:schemeClr val="tx1">
                <a:alpha val="13000"/>
              </a:schemeClr>
            </a:glow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6981" y="3786243"/>
            <a:ext cx="1010813" cy="682313"/>
          </a:xfrm>
          <a:prstGeom prst="rect">
            <a:avLst/>
          </a:prstGeom>
          <a:noFill/>
          <a:ln>
            <a:noFill/>
          </a:ln>
          <a:effectLst>
            <a:glow rad="63500">
              <a:schemeClr val="tx1">
                <a:alpha val="13000"/>
              </a:schemeClr>
            </a:glo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6981" y="2490888"/>
            <a:ext cx="1054519" cy="647283"/>
          </a:xfrm>
          <a:prstGeom prst="rect">
            <a:avLst/>
          </a:prstGeom>
          <a:noFill/>
          <a:ln>
            <a:noFill/>
          </a:ln>
          <a:effectLst>
            <a:glow rad="63500">
              <a:schemeClr val="tx1">
                <a:alpha val="13000"/>
              </a:schemeClr>
            </a:glow>
            <a:softEdge rad="508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72398" y="3164430"/>
            <a:ext cx="1079977" cy="621813"/>
          </a:xfrm>
          <a:prstGeom prst="rect">
            <a:avLst/>
          </a:prstGeom>
          <a:noFill/>
          <a:ln>
            <a:noFill/>
          </a:ln>
          <a:effectLst>
            <a:glow rad="63500">
              <a:schemeClr val="tx1">
                <a:alpha val="13000"/>
              </a:schemeClr>
            </a:glow>
            <a:softEdge rad="762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2813" y="5252659"/>
            <a:ext cx="1079977" cy="768629"/>
          </a:xfrm>
          <a:prstGeom prst="rect">
            <a:avLst/>
          </a:prstGeom>
          <a:noFill/>
          <a:ln>
            <a:noFill/>
          </a:ln>
          <a:effectLst>
            <a:glow rad="63500">
              <a:schemeClr val="tx1">
                <a:alpha val="13000"/>
              </a:schemeClr>
            </a:glow>
            <a:softEdge rad="762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3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6518" y="6003476"/>
            <a:ext cx="1062789" cy="809900"/>
          </a:xfrm>
          <a:prstGeom prst="rect">
            <a:avLst/>
          </a:prstGeom>
          <a:noFill/>
          <a:ln>
            <a:noFill/>
          </a:ln>
          <a:effectLst>
            <a:softEdge rad="762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4050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C:\Users\Julias\Desktop\shutterstock_31444451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矩形 6"/>
          <p:cNvSpPr/>
          <p:nvPr/>
        </p:nvSpPr>
        <p:spPr>
          <a:xfrm>
            <a:off x="107503" y="443567"/>
            <a:ext cx="4464496" cy="5109091"/>
          </a:xfrm>
          <a:prstGeom prst="rect">
            <a:avLst/>
          </a:prstGeom>
          <a:solidFill>
            <a:schemeClr val="bg1">
              <a:alpha val="82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defTabSz="888215">
              <a:defRPr/>
            </a:pPr>
            <a:r>
              <a:rPr lang="zh-TW" altLang="en-US" sz="4400" b="1" spc="-300" dirty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美</a:t>
            </a:r>
            <a:r>
              <a:rPr lang="zh-TW" altLang="en-US" sz="4400" b="1" spc="-300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安夥伴商店</a:t>
            </a:r>
            <a:endParaRPr lang="en-US" altLang="zh-TW" sz="4400" b="1" spc="-300" dirty="0" smtClean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defTabSz="888215">
              <a:defRPr/>
            </a:pPr>
            <a:r>
              <a:rPr lang="en-US" altLang="zh-TW" sz="4600" b="1" spc="-300" dirty="0" smtClean="0">
                <a:solidFill>
                  <a:srgbClr val="FFFF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TW.SHOP.COM</a:t>
            </a:r>
            <a:endParaRPr lang="en-US" altLang="zh-TW" sz="4600" b="1" spc="-300" dirty="0">
              <a:solidFill>
                <a:srgbClr val="FFFF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571500" indent="-571500" defTabSz="888215">
              <a:buSzPct val="70000"/>
              <a:buFont typeface="Wingdings" panose="05000000000000000000" pitchFamily="2" charset="2"/>
              <a:buChar char="n"/>
              <a:defRPr/>
            </a:pPr>
            <a:r>
              <a:rPr lang="zh-TW" altLang="en-US" sz="4400" b="1" spc="-3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商店數多</a:t>
            </a:r>
            <a:endParaRPr lang="en-US" altLang="zh-TW" sz="4400" b="1" spc="-300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571500" indent="-571500" defTabSz="888215">
              <a:buSzPct val="70000"/>
              <a:buFont typeface="Wingdings" panose="05000000000000000000" pitchFamily="2" charset="2"/>
              <a:buChar char="n"/>
              <a:defRPr/>
            </a:pPr>
            <a:r>
              <a:rPr lang="zh-TW" altLang="en-US" sz="4400" b="1" spc="-3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會員</a:t>
            </a:r>
            <a:r>
              <a:rPr lang="zh-TW" altLang="en-US" sz="4400" b="1" spc="-3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數</a:t>
            </a:r>
            <a:r>
              <a:rPr lang="zh-TW" altLang="en-US" sz="4400" b="1" spc="-3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多</a:t>
            </a:r>
            <a:endParaRPr lang="en-US" altLang="zh-TW" sz="4400" b="1" spc="-300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571500" indent="-571500" defTabSz="888215">
              <a:buSzPct val="70000"/>
              <a:buFont typeface="Wingdings" panose="05000000000000000000" pitchFamily="2" charset="2"/>
              <a:buChar char="n"/>
              <a:defRPr/>
            </a:pPr>
            <a:r>
              <a:rPr lang="zh-TW" altLang="en-US" sz="4400" b="1" spc="-3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獨特購物年金推動力，推動消費、促進台灣經濟！</a:t>
            </a:r>
            <a:endParaRPr lang="en-US" altLang="zh-TW" sz="800" b="1" spc="-300" dirty="0">
              <a:solidFill>
                <a:schemeClr val="accent4">
                  <a:lumMod val="20000"/>
                  <a:lumOff val="8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defTabSz="888215">
              <a:defRPr/>
            </a:pPr>
            <a:r>
              <a:rPr lang="en-US" altLang="zh-TW" sz="800" b="1" spc="-300" dirty="0">
                <a:solidFill>
                  <a:schemeClr val="accent4">
                    <a:lumMod val="20000"/>
                    <a:lumOff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endParaRPr lang="en-US" altLang="zh-TW" sz="800" b="1" spc="-300" dirty="0" smtClean="0">
              <a:solidFill>
                <a:schemeClr val="accent4">
                  <a:lumMod val="20000"/>
                  <a:lumOff val="8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defTabSz="888215">
              <a:defRPr/>
            </a:pPr>
            <a:endParaRPr lang="en-US" altLang="zh-TW" sz="800" b="1" spc="-300" dirty="0" smtClean="0">
              <a:solidFill>
                <a:schemeClr val="accent4">
                  <a:lumMod val="20000"/>
                  <a:lumOff val="8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967679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0QNnfXb0611JMQfqI4lQ"/>
</p:tagLst>
</file>

<file path=ppt/theme/_rels/theme15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38_Custom Design">
  <a:themeElements>
    <a:clrScheme name="CandyCon">
      <a:dk1>
        <a:srgbClr val="222A35"/>
      </a:dk1>
      <a:lt1>
        <a:srgbClr val="F2F2F2"/>
      </a:lt1>
      <a:dk2>
        <a:srgbClr val="ED4B3D"/>
      </a:dk2>
      <a:lt2>
        <a:srgbClr val="FC8F3D"/>
      </a:lt2>
      <a:accent1>
        <a:srgbClr val="FFB836"/>
      </a:accent1>
      <a:accent2>
        <a:srgbClr val="01B08C"/>
      </a:accent2>
      <a:accent3>
        <a:srgbClr val="17C1CB"/>
      </a:accent3>
      <a:accent4>
        <a:srgbClr val="3F9CD2"/>
      </a:accent4>
      <a:accent5>
        <a:srgbClr val="137CB8"/>
      </a:accent5>
      <a:accent6>
        <a:srgbClr val="6B50B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5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6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0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多面向">
  <a:themeElements>
    <a:clrScheme name="多面向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多面向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多面向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Facet" id="{C0C680CD-088A-49FC-A102-D699147F32B2}" vid="{0B5AB586-D108-4FC1-8368-649FE654B894}"/>
    </a:ext>
  </a:extLst>
</a:theme>
</file>

<file path=ppt/theme/theme15.xml><?xml version="1.0" encoding="utf-8"?>
<a:theme xmlns:a="http://schemas.openxmlformats.org/drawingml/2006/main" name="2_都會">
  <a:themeElements>
    <a:clrScheme name="波形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都會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eorgia"/>
        <a:ea typeface=""/>
        <a:cs typeface=""/>
        <a:font script="Jpan" typeface="HG明朝B"/>
        <a:font script="Hang" typeface="맑은 고딕"/>
        <a:font script="Hans" typeface="宋体"/>
        <a:font script="Hant" typeface="新細明體"/>
        <a:font script="Arab" typeface="Arial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都會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預設簡報設計">
  <a:themeElements>
    <a:clrScheme name="預設簡報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預設簡報設計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預設簡報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預設簡報設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預設簡報設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預設簡報設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預設簡報設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預設簡報設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預設簡報設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_BW底">
  <a:themeElements>
    <a:clrScheme name="BW底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W底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W底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W底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W底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W底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W底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W底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W底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W底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W底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W底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W底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W底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Default">
  <a:themeElements>
    <a:clrScheme name="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FFFFFF"/>
      </a:accent3>
      <a:accent4>
        <a:srgbClr val="000000"/>
      </a:accent4>
      <a:accent5>
        <a:srgbClr val="AAB8DC"/>
      </a:accent5>
      <a:accent6>
        <a:srgbClr val="007B26"/>
      </a:accent6>
      <a:hlink>
        <a:srgbClr val="0000FF"/>
      </a:hlink>
      <a:folHlink>
        <a:srgbClr val="FF00FF"/>
      </a:folHlink>
    </a:clrScheme>
    <a:fontScheme name="Default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25400" cap="flat" cmpd="sng" algn="ctr">
          <a:solidFill>
            <a:srgbClr val="0365C0"/>
          </a:solidFill>
          <a:prstDash val="solid"/>
          <a:bevel/>
          <a:headEnd type="none" w="med" len="med"/>
          <a:tailEnd type="none" w="med" len="med"/>
        </a:ln>
        <a:effectLst>
          <a:outerShdw blurRad="38100" dist="25400" dir="5400000" algn="ctr" rotWithShape="0">
            <a:srgbClr val="000000">
              <a:alpha val="50000"/>
            </a:srgbClr>
          </a:outerShdw>
        </a:effectLst>
      </a:spPr>
      <a:bodyPr vert="horz" wrap="square" lIns="50800" tIns="50800" rIns="50800" bIns="50800" numCol="1" anchor="ctr" anchorCtr="0" compatLnSpc="1">
        <a:prstTxWarp prst="textNoShape">
          <a:avLst/>
        </a:prstTxWarp>
        <a:spAutoFit/>
      </a:bodyPr>
      <a:lstStyle>
        <a:defPPr marL="0" marR="0" indent="0" algn="ctr" defTabSz="5842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TW" altLang="zh-TW" sz="3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Helvetica Light" charset="0"/>
            <a:ea typeface="Helvetica Light" charset="0"/>
            <a:cs typeface="Helvetica Light" charset="0"/>
            <a:sym typeface="Helvetica Light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25400" cap="flat" cmpd="sng" algn="ctr">
          <a:solidFill>
            <a:srgbClr val="0365C0"/>
          </a:solidFill>
          <a:prstDash val="solid"/>
          <a:bevel/>
          <a:headEnd type="none" w="med" len="med"/>
          <a:tailEnd type="none" w="med" len="med"/>
        </a:ln>
        <a:effectLst>
          <a:outerShdw blurRad="38100" dist="25400" dir="5400000" algn="ctr" rotWithShape="0">
            <a:srgbClr val="000000">
              <a:alpha val="50000"/>
            </a:srgbClr>
          </a:outerShdw>
        </a:effectLst>
      </a:spPr>
      <a:bodyPr vert="horz" wrap="square" lIns="50800" tIns="50800" rIns="50800" bIns="50800" numCol="1" anchor="ctr" anchorCtr="0" compatLnSpc="1">
        <a:prstTxWarp prst="textNoShape">
          <a:avLst/>
        </a:prstTxWarp>
        <a:spAutoFit/>
      </a:bodyPr>
      <a:lstStyle>
        <a:defPPr marL="0" marR="0" indent="0" algn="ctr" defTabSz="5842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TW" altLang="zh-TW" sz="3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Helvetica Light" charset="0"/>
            <a:ea typeface="Helvetica Light" charset="0"/>
            <a:cs typeface="Helvetica Light" charset="0"/>
            <a:sym typeface="Helvetica Light" charset="0"/>
          </a:defRPr>
        </a:defPPr>
      </a:lstStyle>
    </a:lnDef>
  </a:objectDefaults>
  <a:extraClrSchemeLst/>
</a:theme>
</file>

<file path=ppt/theme/theme19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9_Custom Design">
  <a:themeElements>
    <a:clrScheme name="CandyCon">
      <a:dk1>
        <a:srgbClr val="222A35"/>
      </a:dk1>
      <a:lt1>
        <a:srgbClr val="F2F2F2"/>
      </a:lt1>
      <a:dk2>
        <a:srgbClr val="ED4B3D"/>
      </a:dk2>
      <a:lt2>
        <a:srgbClr val="FC8F3D"/>
      </a:lt2>
      <a:accent1>
        <a:srgbClr val="FFB836"/>
      </a:accent1>
      <a:accent2>
        <a:srgbClr val="01B08C"/>
      </a:accent2>
      <a:accent3>
        <a:srgbClr val="17C1CB"/>
      </a:accent3>
      <a:accent4>
        <a:srgbClr val="3F9CD2"/>
      </a:accent4>
      <a:accent5>
        <a:srgbClr val="137CB8"/>
      </a:accent5>
      <a:accent6>
        <a:srgbClr val="6B50B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8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7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3_Office Theme">
  <a:themeElements>
    <a:clrScheme name="Rainbow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1B6FAB"/>
      </a:accent2>
      <a:accent3>
        <a:srgbClr val="8BC145"/>
      </a:accent3>
      <a:accent4>
        <a:srgbClr val="F19D19"/>
      </a:accent4>
      <a:accent5>
        <a:srgbClr val="ED423A"/>
      </a:accent5>
      <a:accent6>
        <a:srgbClr val="4B2B50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5_Custom Design">
  <a:themeElements>
    <a:clrScheme name="Analysis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227DAC"/>
      </a:accent1>
      <a:accent2>
        <a:srgbClr val="443988"/>
      </a:accent2>
      <a:accent3>
        <a:srgbClr val="9F0052"/>
      </a:accent3>
      <a:accent4>
        <a:srgbClr val="FE4020"/>
      </a:accent4>
      <a:accent5>
        <a:srgbClr val="FFBE00"/>
      </a:accent5>
      <a:accent6>
        <a:srgbClr val="00A9FC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78_Custom Design">
  <a:themeElements>
    <a:clrScheme name="CandyCon">
      <a:dk1>
        <a:srgbClr val="222A35"/>
      </a:dk1>
      <a:lt1>
        <a:srgbClr val="F2F2F2"/>
      </a:lt1>
      <a:dk2>
        <a:srgbClr val="ED4B3D"/>
      </a:dk2>
      <a:lt2>
        <a:srgbClr val="FC8F3D"/>
      </a:lt2>
      <a:accent1>
        <a:srgbClr val="FFB836"/>
      </a:accent1>
      <a:accent2>
        <a:srgbClr val="01B08C"/>
      </a:accent2>
      <a:accent3>
        <a:srgbClr val="17C1CB"/>
      </a:accent3>
      <a:accent4>
        <a:srgbClr val="3F9CD2"/>
      </a:accent4>
      <a:accent5>
        <a:srgbClr val="137CB8"/>
      </a:accent5>
      <a:accent6>
        <a:srgbClr val="6B50BE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透視圖">
  <a:themeElements>
    <a:clrScheme name="地平線">
      <a:dk1>
        <a:srgbClr val="000000"/>
      </a:dk1>
      <a:lt1>
        <a:srgbClr val="FFFFFF"/>
      </a:lt1>
      <a:dk2>
        <a:srgbClr val="1F2123"/>
      </a:dk2>
      <a:lt2>
        <a:srgbClr val="DC9E1F"/>
      </a:lt2>
      <a:accent1>
        <a:srgbClr val="7E97AD"/>
      </a:accent1>
      <a:accent2>
        <a:srgbClr val="CC8E60"/>
      </a:accent2>
      <a:accent3>
        <a:srgbClr val="7A6A60"/>
      </a:accent3>
      <a:accent4>
        <a:srgbClr val="B4936D"/>
      </a:accent4>
      <a:accent5>
        <a:srgbClr val="67787B"/>
      </a:accent5>
      <a:accent6>
        <a:srgbClr val="9D936F"/>
      </a:accent6>
      <a:hlink>
        <a:srgbClr val="646464"/>
      </a:hlink>
      <a:folHlink>
        <a:srgbClr val="969696"/>
      </a:folHlink>
    </a:clrScheme>
    <a:fontScheme name="Office 古典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透視圖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alpha val="100000"/>
                <a:satMod val="160000"/>
                <a:lumMod val="105000"/>
              </a:schemeClr>
            </a:gs>
            <a:gs pos="41000">
              <a:schemeClr val="phClr">
                <a:tint val="57000"/>
                <a:satMod val="180000"/>
                <a:lumMod val="99000"/>
              </a:schemeClr>
            </a:gs>
            <a:gs pos="100000">
              <a:schemeClr val="phClr">
                <a:tint val="80000"/>
                <a:satMod val="200000"/>
                <a:lumMod val="104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6000"/>
                <a:satMod val="130000"/>
                <a:lumMod val="114000"/>
              </a:schemeClr>
            </a:gs>
            <a:gs pos="60000">
              <a:schemeClr val="phClr">
                <a:tint val="100000"/>
                <a:satMod val="106000"/>
                <a:lumMod val="110000"/>
              </a:schemeClr>
            </a:gs>
            <a:gs pos="100000">
              <a:schemeClr val="phClr"/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47625" dist="38100" dir="5400000" sy="98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twoPt" dir="br">
              <a:rot lat="0" lon="0" rev="8700000"/>
            </a:lightRig>
          </a:scene3d>
          <a:sp3d prstMaterial="matte">
            <a:bevelT w="25400" h="53975"/>
          </a:sp3d>
        </a:effectStyle>
        <a:effectStyle>
          <a:effectLst>
            <a:reflection blurRad="12700" stA="24000" endPos="28000" dist="50800" dir="5400000" sy="-100000" rotWithShape="0"/>
          </a:effectLst>
          <a:scene3d>
            <a:camera prst="orthographicFront">
              <a:rot lat="0" lon="0" rev="0"/>
            </a:camera>
            <a:lightRig rig="threePt" dir="t">
              <a:rot lat="0" lon="0" rev="4800000"/>
            </a:lightRig>
          </a:scene3d>
          <a:sp3d>
            <a:bevelT w="6985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80000"/>
                <a:satMod val="100000"/>
                <a:lumMod val="100000"/>
              </a:schemeClr>
            </a:gs>
            <a:gs pos="65000">
              <a:schemeClr val="phClr">
                <a:tint val="100000"/>
                <a:shade val="95000"/>
                <a:satMod val="100000"/>
                <a:lumMod val="100000"/>
              </a:schemeClr>
            </a:gs>
            <a:gs pos="100000">
              <a:schemeClr val="phClr">
                <a:tint val="88000"/>
                <a:shade val="100000"/>
                <a:satMod val="400000"/>
                <a:lumMod val="1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  <a:satMod val="90000"/>
              </a:schemeClr>
              <a:schemeClr val="phClr">
                <a:shade val="92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3_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61</TotalTime>
  <Words>2291</Words>
  <Application>Microsoft Office PowerPoint</Application>
  <PresentationFormat>如螢幕大小 (4:3)</PresentationFormat>
  <Paragraphs>358</Paragraphs>
  <Slides>57</Slides>
  <Notes>21</Notes>
  <HiddenSlides>0</HiddenSlides>
  <MMClips>1</MMClips>
  <ScaleCrop>false</ScaleCrop>
  <HeadingPairs>
    <vt:vector size="6" baseType="variant">
      <vt:variant>
        <vt:lpstr>佈景主題</vt:lpstr>
      </vt:variant>
      <vt:variant>
        <vt:i4>2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57</vt:i4>
      </vt:variant>
    </vt:vector>
  </HeadingPairs>
  <TitlesOfParts>
    <vt:vector size="79" baseType="lpstr">
      <vt:lpstr>38_Custom Design</vt:lpstr>
      <vt:lpstr>39_Custom Design</vt:lpstr>
      <vt:lpstr>33_Office Theme</vt:lpstr>
      <vt:lpstr>35_Custom Design</vt:lpstr>
      <vt:lpstr>78_Custom Design</vt:lpstr>
      <vt:lpstr>透視圖</vt:lpstr>
      <vt:lpstr>1_Office 佈景主題</vt:lpstr>
      <vt:lpstr>2_Office 佈景主題</vt:lpstr>
      <vt:lpstr>3_Office 佈景主題</vt:lpstr>
      <vt:lpstr>4_Office 佈景主題</vt:lpstr>
      <vt:lpstr>5_Office 佈景主題</vt:lpstr>
      <vt:lpstr>6_Office 佈景主題</vt:lpstr>
      <vt:lpstr>10_Office 佈景主題</vt:lpstr>
      <vt:lpstr>多面向</vt:lpstr>
      <vt:lpstr>2_都會</vt:lpstr>
      <vt:lpstr>預設簡報設計</vt:lpstr>
      <vt:lpstr>1_BW底</vt:lpstr>
      <vt:lpstr>Default</vt:lpstr>
      <vt:lpstr>Office 佈景主題</vt:lpstr>
      <vt:lpstr>8_Office 佈景主題</vt:lpstr>
      <vt:lpstr>7_Office 佈景主題</vt:lpstr>
      <vt:lpstr>Presentation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抽獎券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她經濟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Julia Sun</dc:creator>
  <cp:lastModifiedBy>Julia Sun</cp:lastModifiedBy>
  <cp:revision>99</cp:revision>
  <dcterms:created xsi:type="dcterms:W3CDTF">2017-03-23T07:12:14Z</dcterms:created>
  <dcterms:modified xsi:type="dcterms:W3CDTF">2017-04-25T10:24:08Z</dcterms:modified>
</cp:coreProperties>
</file>